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5"/>
  </p:notesMasterIdLst>
  <p:sldIdLst>
    <p:sldId id="256" r:id="rId2"/>
    <p:sldId id="276" r:id="rId3"/>
    <p:sldId id="278" r:id="rId4"/>
  </p:sldIdLst>
  <p:sldSz cx="12192000" cy="6858000"/>
  <p:notesSz cx="6858000" cy="9144000"/>
  <p:custDataLst>
    <p:tags r:id="rId6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modifyVerifier cryptProviderType="rsaAES" cryptAlgorithmClass="hash" cryptAlgorithmType="typeAny" cryptAlgorithmSid="14" spinCount="100000" saltData="aT9bmvuq45FoLUJix32TsQ==" hashData="sMH5Ieddc37uwBM8CNLD+R1Cu6FSZamLwRvuDn5dWHjjvQpQ6OFp2RRv4cujQ777h++A9J6MBFj7GHC1uhlTZQ=="/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E4766"/>
    <a:srgbClr val="4A5479"/>
    <a:srgbClr val="E4E4EF"/>
    <a:srgbClr val="666666"/>
    <a:srgbClr val="0E457D"/>
    <a:srgbClr val="172F47"/>
    <a:srgbClr val="13529F"/>
    <a:srgbClr val="C5C4D7"/>
    <a:srgbClr val="C8E3F2"/>
    <a:srgbClr val="72A9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29" autoAdjust="0"/>
    <p:restoredTop sz="96201" autoAdjust="0"/>
  </p:normalViewPr>
  <p:slideViewPr>
    <p:cSldViewPr snapToGrid="0">
      <p:cViewPr varScale="1">
        <p:scale>
          <a:sx n="81" d="100"/>
          <a:sy n="81" d="100"/>
        </p:scale>
        <p:origin x="54" y="22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9/12/2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任意多边形: 形状 3">
            <a:extLst>
              <a:ext uri="{FF2B5EF4-FFF2-40B4-BE49-F238E27FC236}">
                <a16:creationId xmlns:a16="http://schemas.microsoft.com/office/drawing/2014/main" id="{06520DCF-DA61-4D14-AE07-15B7F11C9D32}"/>
              </a:ext>
            </a:extLst>
          </p:cNvPr>
          <p:cNvSpPr/>
          <p:nvPr userDrawn="1"/>
        </p:nvSpPr>
        <p:spPr>
          <a:xfrm>
            <a:off x="-3175" y="-3175"/>
            <a:ext cx="12198350" cy="6864350"/>
          </a:xfrm>
          <a:custGeom>
            <a:avLst/>
            <a:gdLst>
              <a:gd name="connsiteX0" fmla="*/ 3175 w 12198350"/>
              <a:gd name="connsiteY0" fmla="*/ 3175 h 6864350"/>
              <a:gd name="connsiteX1" fmla="*/ 12195175 w 12198350"/>
              <a:gd name="connsiteY1" fmla="*/ 3175 h 6864350"/>
              <a:gd name="connsiteX2" fmla="*/ 12195175 w 12198350"/>
              <a:gd name="connsiteY2" fmla="*/ 6861175 h 6864350"/>
              <a:gd name="connsiteX3" fmla="*/ 3175 w 12198350"/>
              <a:gd name="connsiteY3" fmla="*/ 6861175 h 686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8350" h="6864350">
                <a:moveTo>
                  <a:pt x="3175" y="3175"/>
                </a:moveTo>
                <a:lnTo>
                  <a:pt x="12195175" y="3175"/>
                </a:lnTo>
                <a:lnTo>
                  <a:pt x="12195175" y="6861175"/>
                </a:lnTo>
                <a:lnTo>
                  <a:pt x="3175" y="6861175"/>
                </a:lnTo>
                <a:close/>
              </a:path>
            </a:pathLst>
          </a:custGeom>
          <a:solidFill>
            <a:schemeClr val="accent6">
              <a:lumMod val="50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2" name="任意多边形: 形状 4">
            <a:extLst>
              <a:ext uri="{FF2B5EF4-FFF2-40B4-BE49-F238E27FC236}">
                <a16:creationId xmlns:a16="http://schemas.microsoft.com/office/drawing/2014/main" id="{C5E579F9-9089-46E8-880D-9A5453E7D2E7}"/>
              </a:ext>
            </a:extLst>
          </p:cNvPr>
          <p:cNvSpPr/>
          <p:nvPr userDrawn="1"/>
        </p:nvSpPr>
        <p:spPr>
          <a:xfrm>
            <a:off x="5273293" y="-3175"/>
            <a:ext cx="6921500" cy="6864350"/>
          </a:xfrm>
          <a:custGeom>
            <a:avLst/>
            <a:gdLst>
              <a:gd name="connsiteX0" fmla="*/ 5248657 w 6921500"/>
              <a:gd name="connsiteY0" fmla="*/ 1030605 h 6864350"/>
              <a:gd name="connsiteX1" fmla="*/ 72137 w 6921500"/>
              <a:gd name="connsiteY1" fmla="*/ 6324600 h 6864350"/>
              <a:gd name="connsiteX2" fmla="*/ 3557 w 6921500"/>
              <a:gd name="connsiteY2" fmla="*/ 6861175 h 6864350"/>
              <a:gd name="connsiteX3" fmla="*/ 6918707 w 6921500"/>
              <a:gd name="connsiteY3" fmla="*/ 6861175 h 6864350"/>
              <a:gd name="connsiteX4" fmla="*/ 6918707 w 6921500"/>
              <a:gd name="connsiteY4" fmla="*/ 3175 h 6864350"/>
              <a:gd name="connsiteX5" fmla="*/ 5663313 w 6921500"/>
              <a:gd name="connsiteY5" fmla="*/ 3175 h 6864350"/>
              <a:gd name="connsiteX6" fmla="*/ 5248657 w 6921500"/>
              <a:gd name="connsiteY6" fmla="*/ 1030605 h 686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21500" h="6864350">
                <a:moveTo>
                  <a:pt x="5248657" y="1030605"/>
                </a:moveTo>
                <a:cubicBezTo>
                  <a:pt x="4744467" y="1462405"/>
                  <a:pt x="72137" y="6324600"/>
                  <a:pt x="72137" y="6324600"/>
                </a:cubicBezTo>
                <a:cubicBezTo>
                  <a:pt x="72137" y="6324600"/>
                  <a:pt x="-2793" y="6593206"/>
                  <a:pt x="3557" y="6861175"/>
                </a:cubicBezTo>
                <a:lnTo>
                  <a:pt x="6918707" y="6861175"/>
                </a:lnTo>
                <a:lnTo>
                  <a:pt x="6918707" y="3175"/>
                </a:lnTo>
                <a:lnTo>
                  <a:pt x="5663313" y="3175"/>
                </a:lnTo>
                <a:cubicBezTo>
                  <a:pt x="5655692" y="276225"/>
                  <a:pt x="5587747" y="740410"/>
                  <a:pt x="5248657" y="1030605"/>
                </a:cubicBezTo>
                <a:close/>
              </a:path>
            </a:pathLst>
          </a:custGeom>
          <a:solidFill>
            <a:srgbClr val="8FBFF9">
              <a:lumMod val="60000"/>
              <a:lumOff val="4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3" name="任意多边形: 形状 5">
            <a:extLst>
              <a:ext uri="{FF2B5EF4-FFF2-40B4-BE49-F238E27FC236}">
                <a16:creationId xmlns:a16="http://schemas.microsoft.com/office/drawing/2014/main" id="{B022E879-35B8-4679-A9A8-63D3D4401CE2}"/>
              </a:ext>
            </a:extLst>
          </p:cNvPr>
          <p:cNvSpPr/>
          <p:nvPr userDrawn="1"/>
        </p:nvSpPr>
        <p:spPr>
          <a:xfrm>
            <a:off x="-3175" y="-3175"/>
            <a:ext cx="4114800" cy="3454400"/>
          </a:xfrm>
          <a:custGeom>
            <a:avLst/>
            <a:gdLst>
              <a:gd name="connsiteX0" fmla="*/ 3175 w 4114800"/>
              <a:gd name="connsiteY0" fmla="*/ 3449320 h 3454400"/>
              <a:gd name="connsiteX1" fmla="*/ 661670 w 4114800"/>
              <a:gd name="connsiteY1" fmla="*/ 2989580 h 3454400"/>
              <a:gd name="connsiteX2" fmla="*/ 2552065 w 4114800"/>
              <a:gd name="connsiteY2" fmla="*/ 1466850 h 3454400"/>
              <a:gd name="connsiteX3" fmla="*/ 4074795 w 4114800"/>
              <a:gd name="connsiteY3" fmla="*/ 626745 h 3454400"/>
              <a:gd name="connsiteX4" fmla="*/ 3412490 w 4114800"/>
              <a:gd name="connsiteY4" fmla="*/ 3175 h 3454400"/>
              <a:gd name="connsiteX5" fmla="*/ 3175 w 4114800"/>
              <a:gd name="connsiteY5" fmla="*/ 3175 h 3454400"/>
              <a:gd name="connsiteX6" fmla="*/ 3175 w 4114800"/>
              <a:gd name="connsiteY6" fmla="*/ 3449320 h 345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14800" h="3454400">
                <a:moveTo>
                  <a:pt x="3175" y="3449320"/>
                </a:moveTo>
                <a:cubicBezTo>
                  <a:pt x="214630" y="3479165"/>
                  <a:pt x="483235" y="3389630"/>
                  <a:pt x="661670" y="2989580"/>
                </a:cubicBezTo>
                <a:cubicBezTo>
                  <a:pt x="1082040" y="2044065"/>
                  <a:pt x="1869440" y="1203960"/>
                  <a:pt x="2552065" y="1466850"/>
                </a:cubicBezTo>
                <a:cubicBezTo>
                  <a:pt x="3234690" y="1729740"/>
                  <a:pt x="4337685" y="1414145"/>
                  <a:pt x="4074795" y="626745"/>
                </a:cubicBezTo>
                <a:cubicBezTo>
                  <a:pt x="3990340" y="370205"/>
                  <a:pt x="3728085" y="164465"/>
                  <a:pt x="3412490" y="3175"/>
                </a:cubicBezTo>
                <a:lnTo>
                  <a:pt x="3175" y="3175"/>
                </a:lnTo>
                <a:lnTo>
                  <a:pt x="3175" y="3449320"/>
                </a:lnTo>
                <a:close/>
              </a:path>
            </a:pathLst>
          </a:custGeom>
          <a:solidFill>
            <a:srgbClr val="C1DCFF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4" name="任意多边形: 形状 6">
            <a:extLst>
              <a:ext uri="{FF2B5EF4-FFF2-40B4-BE49-F238E27FC236}">
                <a16:creationId xmlns:a16="http://schemas.microsoft.com/office/drawing/2014/main" id="{FD3C3680-6920-403D-BF86-14398F569C70}"/>
              </a:ext>
            </a:extLst>
          </p:cNvPr>
          <p:cNvSpPr/>
          <p:nvPr userDrawn="1"/>
        </p:nvSpPr>
        <p:spPr>
          <a:xfrm>
            <a:off x="-3175" y="-3175"/>
            <a:ext cx="3454400" cy="2876550"/>
          </a:xfrm>
          <a:custGeom>
            <a:avLst/>
            <a:gdLst>
              <a:gd name="connsiteX0" fmla="*/ 3175 w 3454400"/>
              <a:gd name="connsiteY0" fmla="*/ 2875280 h 2876550"/>
              <a:gd name="connsiteX1" fmla="*/ 511175 w 3454400"/>
              <a:gd name="connsiteY1" fmla="*/ 2478405 h 2876550"/>
              <a:gd name="connsiteX2" fmla="*/ 2123440 w 3454400"/>
              <a:gd name="connsiteY2" fmla="*/ 1179830 h 2876550"/>
              <a:gd name="connsiteX3" fmla="*/ 3422015 w 3454400"/>
              <a:gd name="connsiteY3" fmla="*/ 463550 h 2876550"/>
              <a:gd name="connsiteX4" fmla="*/ 2985135 w 3454400"/>
              <a:gd name="connsiteY4" fmla="*/ 3175 h 2876550"/>
              <a:gd name="connsiteX5" fmla="*/ 3175 w 3454400"/>
              <a:gd name="connsiteY5" fmla="*/ 3175 h 2876550"/>
              <a:gd name="connsiteX6" fmla="*/ 3175 w 3454400"/>
              <a:gd name="connsiteY6" fmla="*/ 2875280 h 287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454400" h="2876550">
                <a:moveTo>
                  <a:pt x="3175" y="2875280"/>
                </a:moveTo>
                <a:cubicBezTo>
                  <a:pt x="167005" y="2876550"/>
                  <a:pt x="375285" y="2783205"/>
                  <a:pt x="511175" y="2478405"/>
                </a:cubicBezTo>
                <a:cubicBezTo>
                  <a:pt x="869315" y="1672590"/>
                  <a:pt x="1541145" y="955675"/>
                  <a:pt x="2123440" y="1179830"/>
                </a:cubicBezTo>
                <a:cubicBezTo>
                  <a:pt x="2705735" y="1403985"/>
                  <a:pt x="3646170" y="1134745"/>
                  <a:pt x="3422015" y="463550"/>
                </a:cubicBezTo>
                <a:cubicBezTo>
                  <a:pt x="3361055" y="281305"/>
                  <a:pt x="3194685" y="128905"/>
                  <a:pt x="2985135" y="3175"/>
                </a:cubicBezTo>
                <a:lnTo>
                  <a:pt x="3175" y="3175"/>
                </a:lnTo>
                <a:lnTo>
                  <a:pt x="3175" y="2875280"/>
                </a:lnTo>
                <a:close/>
              </a:path>
            </a:pathLst>
          </a:custGeom>
          <a:solidFill>
            <a:srgbClr val="A8BFFF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5" name="任意多边形: 形状 7">
            <a:extLst>
              <a:ext uri="{FF2B5EF4-FFF2-40B4-BE49-F238E27FC236}">
                <a16:creationId xmlns:a16="http://schemas.microsoft.com/office/drawing/2014/main" id="{09B0EA7E-BB83-4657-94D9-2C3B9030ACD3}"/>
              </a:ext>
            </a:extLst>
          </p:cNvPr>
          <p:cNvSpPr/>
          <p:nvPr userDrawn="1"/>
        </p:nvSpPr>
        <p:spPr>
          <a:xfrm>
            <a:off x="717550" y="533400"/>
            <a:ext cx="10756900" cy="5791200"/>
          </a:xfrm>
          <a:prstGeom prst="roundRect">
            <a:avLst>
              <a:gd name="adj" fmla="val 3885"/>
            </a:avLst>
          </a:prstGeom>
          <a:solidFill>
            <a:srgbClr val="FFFFFF"/>
          </a:solidFill>
          <a:ln w="6350" cap="flat">
            <a:noFill/>
            <a:prstDash val="solid"/>
            <a:miter/>
          </a:ln>
          <a:effectLst>
            <a:outerShdw blurRad="228600" dist="38100" dir="2700000" algn="tl" rotWithShape="0">
              <a:schemeClr val="accent1">
                <a:lumMod val="60000"/>
                <a:lumOff val="40000"/>
                <a:alpha val="26000"/>
              </a:schemeClr>
            </a:outerShdw>
          </a:effectLst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0" name="任意多边形: 形状 9852">
            <a:extLst>
              <a:ext uri="{FF2B5EF4-FFF2-40B4-BE49-F238E27FC236}">
                <a16:creationId xmlns:a16="http://schemas.microsoft.com/office/drawing/2014/main" id="{5768ACB9-8152-46E7-9094-AF576368C7BC}"/>
              </a:ext>
            </a:extLst>
          </p:cNvPr>
          <p:cNvSpPr/>
          <p:nvPr userDrawn="1"/>
        </p:nvSpPr>
        <p:spPr>
          <a:xfrm>
            <a:off x="717550" y="533400"/>
            <a:ext cx="3390900" cy="2317750"/>
          </a:xfrm>
          <a:custGeom>
            <a:avLst/>
            <a:gdLst>
              <a:gd name="connsiteX0" fmla="*/ 3175 w 3390900"/>
              <a:gd name="connsiteY0" fmla="*/ 2318385 h 2317750"/>
              <a:gd name="connsiteX1" fmla="*/ 1831340 w 3390900"/>
              <a:gd name="connsiteY1" fmla="*/ 929640 h 2317750"/>
              <a:gd name="connsiteX2" fmla="*/ 3354070 w 3390900"/>
              <a:gd name="connsiteY2" fmla="*/ 89535 h 2317750"/>
              <a:gd name="connsiteX3" fmla="*/ 3317875 w 3390900"/>
              <a:gd name="connsiteY3" fmla="*/ 3175 h 2317750"/>
              <a:gd name="connsiteX4" fmla="*/ 3175 w 3390900"/>
              <a:gd name="connsiteY4" fmla="*/ 3175 h 2317750"/>
              <a:gd name="connsiteX5" fmla="*/ 3175 w 3390900"/>
              <a:gd name="connsiteY5" fmla="*/ 2318385 h 231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90900" h="2317750">
                <a:moveTo>
                  <a:pt x="3175" y="2318385"/>
                </a:moveTo>
                <a:cubicBezTo>
                  <a:pt x="435610" y="1430020"/>
                  <a:pt x="1181100" y="679450"/>
                  <a:pt x="1831340" y="929640"/>
                </a:cubicBezTo>
                <a:cubicBezTo>
                  <a:pt x="2513965" y="1192530"/>
                  <a:pt x="3616960" y="876935"/>
                  <a:pt x="3354070" y="89535"/>
                </a:cubicBezTo>
                <a:cubicBezTo>
                  <a:pt x="3344545" y="60325"/>
                  <a:pt x="3331845" y="31115"/>
                  <a:pt x="3317875" y="3175"/>
                </a:cubicBezTo>
                <a:lnTo>
                  <a:pt x="3175" y="3175"/>
                </a:lnTo>
                <a:lnTo>
                  <a:pt x="3175" y="2318385"/>
                </a:lnTo>
                <a:close/>
              </a:path>
            </a:pathLst>
          </a:custGeom>
          <a:solidFill>
            <a:srgbClr val="C1DCFF">
              <a:alpha val="6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1" name="任意多边形: 形状 9853">
            <a:extLst>
              <a:ext uri="{FF2B5EF4-FFF2-40B4-BE49-F238E27FC236}">
                <a16:creationId xmlns:a16="http://schemas.microsoft.com/office/drawing/2014/main" id="{1D6433B4-443D-497B-B60E-9CFC49A0DFCD}"/>
              </a:ext>
            </a:extLst>
          </p:cNvPr>
          <p:cNvSpPr/>
          <p:nvPr userDrawn="1"/>
        </p:nvSpPr>
        <p:spPr>
          <a:xfrm>
            <a:off x="717550" y="533400"/>
            <a:ext cx="2736850" cy="1536700"/>
          </a:xfrm>
          <a:custGeom>
            <a:avLst/>
            <a:gdLst>
              <a:gd name="connsiteX0" fmla="*/ 3175 w 2736850"/>
              <a:gd name="connsiteY0" fmla="*/ 1534160 h 1536700"/>
              <a:gd name="connsiteX1" fmla="*/ 1402080 w 2736850"/>
              <a:gd name="connsiteY1" fmla="*/ 643255 h 1536700"/>
              <a:gd name="connsiteX2" fmla="*/ 2721610 w 2736850"/>
              <a:gd name="connsiteY2" fmla="*/ 3175 h 1536700"/>
              <a:gd name="connsiteX3" fmla="*/ 3175 w 2736850"/>
              <a:gd name="connsiteY3" fmla="*/ 3175 h 1536700"/>
              <a:gd name="connsiteX4" fmla="*/ 3175 w 2736850"/>
              <a:gd name="connsiteY4" fmla="*/ 1534160 h 153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36850" h="1536700">
                <a:moveTo>
                  <a:pt x="3175" y="1534160"/>
                </a:moveTo>
                <a:cubicBezTo>
                  <a:pt x="379095" y="915035"/>
                  <a:pt x="921385" y="458470"/>
                  <a:pt x="1402080" y="643255"/>
                </a:cubicBezTo>
                <a:cubicBezTo>
                  <a:pt x="1961515" y="858520"/>
                  <a:pt x="2852420" y="618490"/>
                  <a:pt x="2721610" y="3175"/>
                </a:cubicBezTo>
                <a:lnTo>
                  <a:pt x="3175" y="3175"/>
                </a:lnTo>
                <a:lnTo>
                  <a:pt x="3175" y="1534160"/>
                </a:lnTo>
                <a:close/>
              </a:path>
            </a:pathLst>
          </a:custGeom>
          <a:solidFill>
            <a:srgbClr val="ABC2FF">
              <a:alpha val="6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1383699" y="1835871"/>
            <a:ext cx="5470981" cy="1289088"/>
          </a:xfrm>
        </p:spPr>
        <p:txBody>
          <a:bodyPr anchor="ctr">
            <a:normAutofit/>
          </a:bodyPr>
          <a:lstStyle>
            <a:lvl1pPr algn="l">
              <a:defRPr sz="4000">
                <a:solidFill>
                  <a:srgbClr val="0E457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1383698" y="3401324"/>
            <a:ext cx="5844995" cy="258922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rgbClr val="0E457D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383698" y="4484238"/>
            <a:ext cx="2315101" cy="258922"/>
          </a:xfrm>
          <a:prstGeom prst="roundRect">
            <a:avLst>
              <a:gd name="adj" fmla="val 43154"/>
            </a:avLst>
          </a:prstGeom>
          <a:solidFill>
            <a:schemeClr val="accent1"/>
          </a:solidFill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383699" y="4924607"/>
            <a:ext cx="5844996" cy="296392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rgbClr val="0E457D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702F86C1-24CD-49C9-B4DA-98D45882771F}"/>
              </a:ext>
            </a:extLst>
          </p:cNvPr>
          <p:cNvGrpSpPr/>
          <p:nvPr userDrawn="1"/>
        </p:nvGrpSpPr>
        <p:grpSpPr>
          <a:xfrm>
            <a:off x="5889782" y="893221"/>
            <a:ext cx="5228505" cy="5016206"/>
            <a:chOff x="5889782" y="893221"/>
            <a:chExt cx="5228505" cy="5016206"/>
          </a:xfrm>
        </p:grpSpPr>
        <p:sp>
          <p:nvSpPr>
            <p:cNvPr id="1128" name="îṣḷïde">
              <a:extLst>
                <a:ext uri="{FF2B5EF4-FFF2-40B4-BE49-F238E27FC236}">
                  <a16:creationId xmlns:a16="http://schemas.microsoft.com/office/drawing/2014/main" id="{0BAACA35-B8F5-49E4-BDF2-28AD92F51B89}"/>
                </a:ext>
              </a:extLst>
            </p:cNvPr>
            <p:cNvSpPr/>
            <p:nvPr userDrawn="1"/>
          </p:nvSpPr>
          <p:spPr bwMode="auto">
            <a:xfrm>
              <a:off x="6241970" y="2667325"/>
              <a:ext cx="648420" cy="1525598"/>
            </a:xfrm>
            <a:custGeom>
              <a:avLst/>
              <a:gdLst>
                <a:gd name="T0" fmla="*/ 65 w 394"/>
                <a:gd name="T1" fmla="*/ 927 h 927"/>
                <a:gd name="T2" fmla="*/ 394 w 394"/>
                <a:gd name="T3" fmla="*/ 153 h 927"/>
                <a:gd name="T4" fmla="*/ 394 w 394"/>
                <a:gd name="T5" fmla="*/ 0 h 927"/>
                <a:gd name="T6" fmla="*/ 0 w 394"/>
                <a:gd name="T7" fmla="*/ 927 h 927"/>
                <a:gd name="T8" fmla="*/ 65 w 394"/>
                <a:gd name="T9" fmla="*/ 927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4" h="927">
                  <a:moveTo>
                    <a:pt x="65" y="927"/>
                  </a:moveTo>
                  <a:lnTo>
                    <a:pt x="394" y="153"/>
                  </a:lnTo>
                  <a:lnTo>
                    <a:pt x="394" y="0"/>
                  </a:lnTo>
                  <a:lnTo>
                    <a:pt x="0" y="927"/>
                  </a:lnTo>
                  <a:lnTo>
                    <a:pt x="65" y="927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29" name="ïšḻíḍê">
              <a:extLst>
                <a:ext uri="{FF2B5EF4-FFF2-40B4-BE49-F238E27FC236}">
                  <a16:creationId xmlns:a16="http://schemas.microsoft.com/office/drawing/2014/main" id="{51781B7F-5616-415D-B826-A2DBE6904BE6}"/>
                </a:ext>
              </a:extLst>
            </p:cNvPr>
            <p:cNvSpPr/>
            <p:nvPr userDrawn="1"/>
          </p:nvSpPr>
          <p:spPr bwMode="auto">
            <a:xfrm>
              <a:off x="6783417" y="2667325"/>
              <a:ext cx="106973" cy="255090"/>
            </a:xfrm>
            <a:custGeom>
              <a:avLst/>
              <a:gdLst>
                <a:gd name="T0" fmla="*/ 19 w 65"/>
                <a:gd name="T1" fmla="*/ 143 h 155"/>
                <a:gd name="T2" fmla="*/ 65 w 65"/>
                <a:gd name="T3" fmla="*/ 153 h 155"/>
                <a:gd name="T4" fmla="*/ 65 w 65"/>
                <a:gd name="T5" fmla="*/ 0 h 155"/>
                <a:gd name="T6" fmla="*/ 10 w 65"/>
                <a:gd name="T7" fmla="*/ 132 h 155"/>
                <a:gd name="T8" fmla="*/ 0 w 65"/>
                <a:gd name="T9" fmla="*/ 155 h 155"/>
                <a:gd name="T10" fmla="*/ 19 w 65"/>
                <a:gd name="T11" fmla="*/ 143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155">
                  <a:moveTo>
                    <a:pt x="19" y="143"/>
                  </a:moveTo>
                  <a:lnTo>
                    <a:pt x="65" y="153"/>
                  </a:lnTo>
                  <a:lnTo>
                    <a:pt x="65" y="0"/>
                  </a:lnTo>
                  <a:lnTo>
                    <a:pt x="10" y="132"/>
                  </a:lnTo>
                  <a:lnTo>
                    <a:pt x="0" y="155"/>
                  </a:lnTo>
                  <a:lnTo>
                    <a:pt x="19" y="143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0" name="íšḷiḑe">
              <a:extLst>
                <a:ext uri="{FF2B5EF4-FFF2-40B4-BE49-F238E27FC236}">
                  <a16:creationId xmlns:a16="http://schemas.microsoft.com/office/drawing/2014/main" id="{36D4FDD1-D4E5-4DCD-B2B0-AA38156B2677}"/>
                </a:ext>
              </a:extLst>
            </p:cNvPr>
            <p:cNvSpPr/>
            <p:nvPr userDrawn="1"/>
          </p:nvSpPr>
          <p:spPr bwMode="auto">
            <a:xfrm>
              <a:off x="8944269" y="1284906"/>
              <a:ext cx="1456477" cy="1454831"/>
            </a:xfrm>
            <a:custGeom>
              <a:avLst/>
              <a:gdLst>
                <a:gd name="T0" fmla="*/ 90 w 381"/>
                <a:gd name="T1" fmla="*/ 25 h 381"/>
                <a:gd name="T2" fmla="*/ 34 w 381"/>
                <a:gd name="T3" fmla="*/ 78 h 381"/>
                <a:gd name="T4" fmla="*/ 53 w 381"/>
                <a:gd name="T5" fmla="*/ 107 h 381"/>
                <a:gd name="T6" fmla="*/ 54 w 381"/>
                <a:gd name="T7" fmla="*/ 128 h 381"/>
                <a:gd name="T8" fmla="*/ 54 w 381"/>
                <a:gd name="T9" fmla="*/ 128 h 381"/>
                <a:gd name="T10" fmla="*/ 38 w 381"/>
                <a:gd name="T11" fmla="*/ 140 h 381"/>
                <a:gd name="T12" fmla="*/ 3 w 381"/>
                <a:gd name="T13" fmla="*/ 145 h 381"/>
                <a:gd name="T14" fmla="*/ 0 w 381"/>
                <a:gd name="T15" fmla="*/ 222 h 381"/>
                <a:gd name="T16" fmla="*/ 35 w 381"/>
                <a:gd name="T17" fmla="*/ 229 h 381"/>
                <a:gd name="T18" fmla="*/ 50 w 381"/>
                <a:gd name="T19" fmla="*/ 242 h 381"/>
                <a:gd name="T20" fmla="*/ 50 w 381"/>
                <a:gd name="T21" fmla="*/ 242 h 381"/>
                <a:gd name="T22" fmla="*/ 47 w 381"/>
                <a:gd name="T23" fmla="*/ 263 h 381"/>
                <a:gd name="T24" fmla="*/ 26 w 381"/>
                <a:gd name="T25" fmla="*/ 291 h 381"/>
                <a:gd name="T26" fmla="*/ 52 w 381"/>
                <a:gd name="T27" fmla="*/ 319 h 381"/>
                <a:gd name="T28" fmla="*/ 78 w 381"/>
                <a:gd name="T29" fmla="*/ 347 h 381"/>
                <a:gd name="T30" fmla="*/ 108 w 381"/>
                <a:gd name="T31" fmla="*/ 328 h 381"/>
                <a:gd name="T32" fmla="*/ 128 w 381"/>
                <a:gd name="T33" fmla="*/ 326 h 381"/>
                <a:gd name="T34" fmla="*/ 128 w 381"/>
                <a:gd name="T35" fmla="*/ 326 h 381"/>
                <a:gd name="T36" fmla="*/ 140 w 381"/>
                <a:gd name="T37" fmla="*/ 343 h 381"/>
                <a:gd name="T38" fmla="*/ 145 w 381"/>
                <a:gd name="T39" fmla="*/ 378 h 381"/>
                <a:gd name="T40" fmla="*/ 222 w 381"/>
                <a:gd name="T41" fmla="*/ 381 h 381"/>
                <a:gd name="T42" fmla="*/ 229 w 381"/>
                <a:gd name="T43" fmla="*/ 346 h 381"/>
                <a:gd name="T44" fmla="*/ 243 w 381"/>
                <a:gd name="T45" fmla="*/ 331 h 381"/>
                <a:gd name="T46" fmla="*/ 243 w 381"/>
                <a:gd name="T47" fmla="*/ 331 h 381"/>
                <a:gd name="T48" fmla="*/ 263 w 381"/>
                <a:gd name="T49" fmla="*/ 333 h 381"/>
                <a:gd name="T50" fmla="*/ 291 w 381"/>
                <a:gd name="T51" fmla="*/ 355 h 381"/>
                <a:gd name="T52" fmla="*/ 347 w 381"/>
                <a:gd name="T53" fmla="*/ 303 h 381"/>
                <a:gd name="T54" fmla="*/ 328 w 381"/>
                <a:gd name="T55" fmla="*/ 273 h 381"/>
                <a:gd name="T56" fmla="*/ 327 w 381"/>
                <a:gd name="T57" fmla="*/ 253 h 381"/>
                <a:gd name="T58" fmla="*/ 327 w 381"/>
                <a:gd name="T59" fmla="*/ 253 h 381"/>
                <a:gd name="T60" fmla="*/ 343 w 381"/>
                <a:gd name="T61" fmla="*/ 240 h 381"/>
                <a:gd name="T62" fmla="*/ 378 w 381"/>
                <a:gd name="T63" fmla="*/ 236 h 381"/>
                <a:gd name="T64" fmla="*/ 381 w 381"/>
                <a:gd name="T65" fmla="*/ 159 h 381"/>
                <a:gd name="T66" fmla="*/ 346 w 381"/>
                <a:gd name="T67" fmla="*/ 152 h 381"/>
                <a:gd name="T68" fmla="*/ 331 w 381"/>
                <a:gd name="T69" fmla="*/ 138 h 381"/>
                <a:gd name="T70" fmla="*/ 331 w 381"/>
                <a:gd name="T71" fmla="*/ 138 h 381"/>
                <a:gd name="T72" fmla="*/ 334 w 381"/>
                <a:gd name="T73" fmla="*/ 118 h 381"/>
                <a:gd name="T74" fmla="*/ 355 w 381"/>
                <a:gd name="T75" fmla="*/ 90 h 381"/>
                <a:gd name="T76" fmla="*/ 329 w 381"/>
                <a:gd name="T77" fmla="*/ 62 h 381"/>
                <a:gd name="T78" fmla="*/ 303 w 381"/>
                <a:gd name="T79" fmla="*/ 33 h 381"/>
                <a:gd name="T80" fmla="*/ 273 w 381"/>
                <a:gd name="T81" fmla="*/ 53 h 381"/>
                <a:gd name="T82" fmla="*/ 253 w 381"/>
                <a:gd name="T83" fmla="*/ 54 h 381"/>
                <a:gd name="T84" fmla="*/ 253 w 381"/>
                <a:gd name="T85" fmla="*/ 54 h 381"/>
                <a:gd name="T86" fmla="*/ 241 w 381"/>
                <a:gd name="T87" fmla="*/ 38 h 381"/>
                <a:gd name="T88" fmla="*/ 236 w 381"/>
                <a:gd name="T89" fmla="*/ 3 h 381"/>
                <a:gd name="T90" fmla="*/ 159 w 381"/>
                <a:gd name="T91" fmla="*/ 0 h 381"/>
                <a:gd name="T92" fmla="*/ 152 w 381"/>
                <a:gd name="T93" fmla="*/ 34 h 381"/>
                <a:gd name="T94" fmla="*/ 138 w 381"/>
                <a:gd name="T95" fmla="*/ 50 h 381"/>
                <a:gd name="T96" fmla="*/ 138 w 381"/>
                <a:gd name="T97" fmla="*/ 50 h 381"/>
                <a:gd name="T98" fmla="*/ 118 w 381"/>
                <a:gd name="T99" fmla="*/ 47 h 381"/>
                <a:gd name="T100" fmla="*/ 90 w 381"/>
                <a:gd name="T101" fmla="*/ 25 h 381"/>
                <a:gd name="T102" fmla="*/ 274 w 381"/>
                <a:gd name="T103" fmla="*/ 113 h 381"/>
                <a:gd name="T104" fmla="*/ 268 w 381"/>
                <a:gd name="T105" fmla="*/ 273 h 381"/>
                <a:gd name="T106" fmla="*/ 107 w 381"/>
                <a:gd name="T107" fmla="*/ 268 h 381"/>
                <a:gd name="T108" fmla="*/ 113 w 381"/>
                <a:gd name="T109" fmla="*/ 107 h 381"/>
                <a:gd name="T110" fmla="*/ 274 w 381"/>
                <a:gd name="T111" fmla="*/ 113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81" h="381">
                  <a:moveTo>
                    <a:pt x="90" y="25"/>
                  </a:moveTo>
                  <a:cubicBezTo>
                    <a:pt x="34" y="78"/>
                    <a:pt x="34" y="78"/>
                    <a:pt x="34" y="78"/>
                  </a:cubicBezTo>
                  <a:cubicBezTo>
                    <a:pt x="53" y="107"/>
                    <a:pt x="53" y="107"/>
                    <a:pt x="53" y="107"/>
                  </a:cubicBezTo>
                  <a:cubicBezTo>
                    <a:pt x="57" y="113"/>
                    <a:pt x="57" y="121"/>
                    <a:pt x="54" y="128"/>
                  </a:cubicBezTo>
                  <a:cubicBezTo>
                    <a:pt x="54" y="128"/>
                    <a:pt x="54" y="128"/>
                    <a:pt x="54" y="128"/>
                  </a:cubicBezTo>
                  <a:cubicBezTo>
                    <a:pt x="51" y="134"/>
                    <a:pt x="45" y="139"/>
                    <a:pt x="38" y="140"/>
                  </a:cubicBezTo>
                  <a:cubicBezTo>
                    <a:pt x="3" y="145"/>
                    <a:pt x="3" y="145"/>
                    <a:pt x="3" y="145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35" y="229"/>
                    <a:pt x="35" y="229"/>
                    <a:pt x="35" y="229"/>
                  </a:cubicBezTo>
                  <a:cubicBezTo>
                    <a:pt x="42" y="230"/>
                    <a:pt x="47" y="235"/>
                    <a:pt x="50" y="242"/>
                  </a:cubicBezTo>
                  <a:cubicBezTo>
                    <a:pt x="50" y="242"/>
                    <a:pt x="50" y="242"/>
                    <a:pt x="50" y="242"/>
                  </a:cubicBezTo>
                  <a:cubicBezTo>
                    <a:pt x="53" y="249"/>
                    <a:pt x="52" y="257"/>
                    <a:pt x="47" y="263"/>
                  </a:cubicBezTo>
                  <a:cubicBezTo>
                    <a:pt x="26" y="291"/>
                    <a:pt x="26" y="291"/>
                    <a:pt x="26" y="291"/>
                  </a:cubicBezTo>
                  <a:cubicBezTo>
                    <a:pt x="52" y="319"/>
                    <a:pt x="52" y="319"/>
                    <a:pt x="52" y="319"/>
                  </a:cubicBezTo>
                  <a:cubicBezTo>
                    <a:pt x="78" y="347"/>
                    <a:pt x="78" y="347"/>
                    <a:pt x="78" y="347"/>
                  </a:cubicBezTo>
                  <a:cubicBezTo>
                    <a:pt x="108" y="328"/>
                    <a:pt x="108" y="328"/>
                    <a:pt x="108" y="328"/>
                  </a:cubicBezTo>
                  <a:cubicBezTo>
                    <a:pt x="114" y="324"/>
                    <a:pt x="121" y="323"/>
                    <a:pt x="128" y="326"/>
                  </a:cubicBezTo>
                  <a:cubicBezTo>
                    <a:pt x="128" y="326"/>
                    <a:pt x="128" y="326"/>
                    <a:pt x="128" y="326"/>
                  </a:cubicBezTo>
                  <a:cubicBezTo>
                    <a:pt x="135" y="329"/>
                    <a:pt x="139" y="335"/>
                    <a:pt x="140" y="343"/>
                  </a:cubicBezTo>
                  <a:cubicBezTo>
                    <a:pt x="145" y="378"/>
                    <a:pt x="145" y="378"/>
                    <a:pt x="145" y="378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29" y="346"/>
                    <a:pt x="229" y="346"/>
                    <a:pt x="229" y="346"/>
                  </a:cubicBezTo>
                  <a:cubicBezTo>
                    <a:pt x="231" y="339"/>
                    <a:pt x="236" y="333"/>
                    <a:pt x="243" y="331"/>
                  </a:cubicBezTo>
                  <a:cubicBezTo>
                    <a:pt x="243" y="331"/>
                    <a:pt x="243" y="331"/>
                    <a:pt x="243" y="331"/>
                  </a:cubicBezTo>
                  <a:cubicBezTo>
                    <a:pt x="250" y="328"/>
                    <a:pt x="257" y="329"/>
                    <a:pt x="263" y="333"/>
                  </a:cubicBezTo>
                  <a:cubicBezTo>
                    <a:pt x="291" y="355"/>
                    <a:pt x="291" y="355"/>
                    <a:pt x="291" y="355"/>
                  </a:cubicBezTo>
                  <a:cubicBezTo>
                    <a:pt x="347" y="303"/>
                    <a:pt x="347" y="303"/>
                    <a:pt x="347" y="303"/>
                  </a:cubicBezTo>
                  <a:cubicBezTo>
                    <a:pt x="328" y="273"/>
                    <a:pt x="328" y="273"/>
                    <a:pt x="328" y="273"/>
                  </a:cubicBezTo>
                  <a:cubicBezTo>
                    <a:pt x="324" y="267"/>
                    <a:pt x="324" y="259"/>
                    <a:pt x="327" y="253"/>
                  </a:cubicBezTo>
                  <a:cubicBezTo>
                    <a:pt x="327" y="253"/>
                    <a:pt x="327" y="253"/>
                    <a:pt x="327" y="253"/>
                  </a:cubicBezTo>
                  <a:cubicBezTo>
                    <a:pt x="330" y="246"/>
                    <a:pt x="336" y="241"/>
                    <a:pt x="343" y="240"/>
                  </a:cubicBezTo>
                  <a:cubicBezTo>
                    <a:pt x="378" y="236"/>
                    <a:pt x="378" y="236"/>
                    <a:pt x="378" y="236"/>
                  </a:cubicBezTo>
                  <a:cubicBezTo>
                    <a:pt x="381" y="159"/>
                    <a:pt x="381" y="159"/>
                    <a:pt x="381" y="159"/>
                  </a:cubicBezTo>
                  <a:cubicBezTo>
                    <a:pt x="346" y="152"/>
                    <a:pt x="346" y="152"/>
                    <a:pt x="346" y="152"/>
                  </a:cubicBezTo>
                  <a:cubicBezTo>
                    <a:pt x="339" y="150"/>
                    <a:pt x="333" y="145"/>
                    <a:pt x="331" y="138"/>
                  </a:cubicBezTo>
                  <a:cubicBezTo>
                    <a:pt x="331" y="138"/>
                    <a:pt x="331" y="138"/>
                    <a:pt x="331" y="138"/>
                  </a:cubicBezTo>
                  <a:cubicBezTo>
                    <a:pt x="328" y="131"/>
                    <a:pt x="329" y="124"/>
                    <a:pt x="334" y="118"/>
                  </a:cubicBezTo>
                  <a:cubicBezTo>
                    <a:pt x="355" y="90"/>
                    <a:pt x="355" y="90"/>
                    <a:pt x="355" y="90"/>
                  </a:cubicBezTo>
                  <a:cubicBezTo>
                    <a:pt x="329" y="62"/>
                    <a:pt x="329" y="62"/>
                    <a:pt x="329" y="62"/>
                  </a:cubicBezTo>
                  <a:cubicBezTo>
                    <a:pt x="303" y="33"/>
                    <a:pt x="303" y="33"/>
                    <a:pt x="303" y="33"/>
                  </a:cubicBezTo>
                  <a:cubicBezTo>
                    <a:pt x="273" y="53"/>
                    <a:pt x="273" y="53"/>
                    <a:pt x="273" y="53"/>
                  </a:cubicBezTo>
                  <a:cubicBezTo>
                    <a:pt x="267" y="57"/>
                    <a:pt x="260" y="57"/>
                    <a:pt x="253" y="54"/>
                  </a:cubicBezTo>
                  <a:cubicBezTo>
                    <a:pt x="253" y="54"/>
                    <a:pt x="253" y="54"/>
                    <a:pt x="253" y="54"/>
                  </a:cubicBezTo>
                  <a:cubicBezTo>
                    <a:pt x="246" y="51"/>
                    <a:pt x="242" y="45"/>
                    <a:pt x="241" y="38"/>
                  </a:cubicBezTo>
                  <a:cubicBezTo>
                    <a:pt x="236" y="3"/>
                    <a:pt x="236" y="3"/>
                    <a:pt x="236" y="3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52" y="34"/>
                    <a:pt x="152" y="34"/>
                    <a:pt x="152" y="34"/>
                  </a:cubicBezTo>
                  <a:cubicBezTo>
                    <a:pt x="150" y="42"/>
                    <a:pt x="145" y="47"/>
                    <a:pt x="138" y="50"/>
                  </a:cubicBezTo>
                  <a:cubicBezTo>
                    <a:pt x="138" y="50"/>
                    <a:pt x="138" y="50"/>
                    <a:pt x="138" y="50"/>
                  </a:cubicBezTo>
                  <a:cubicBezTo>
                    <a:pt x="131" y="52"/>
                    <a:pt x="124" y="51"/>
                    <a:pt x="118" y="47"/>
                  </a:cubicBezTo>
                  <a:lnTo>
                    <a:pt x="90" y="25"/>
                  </a:lnTo>
                  <a:close/>
                  <a:moveTo>
                    <a:pt x="274" y="113"/>
                  </a:moveTo>
                  <a:cubicBezTo>
                    <a:pt x="316" y="159"/>
                    <a:pt x="314" y="231"/>
                    <a:pt x="268" y="273"/>
                  </a:cubicBezTo>
                  <a:cubicBezTo>
                    <a:pt x="222" y="316"/>
                    <a:pt x="150" y="313"/>
                    <a:pt x="107" y="268"/>
                  </a:cubicBezTo>
                  <a:cubicBezTo>
                    <a:pt x="65" y="222"/>
                    <a:pt x="67" y="150"/>
                    <a:pt x="113" y="107"/>
                  </a:cubicBezTo>
                  <a:cubicBezTo>
                    <a:pt x="159" y="64"/>
                    <a:pt x="231" y="67"/>
                    <a:pt x="274" y="113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1" name="îṩ1iḑé">
              <a:extLst>
                <a:ext uri="{FF2B5EF4-FFF2-40B4-BE49-F238E27FC236}">
                  <a16:creationId xmlns:a16="http://schemas.microsoft.com/office/drawing/2014/main" id="{EB56D6B5-B21E-4122-A4AE-60BD6B59BB85}"/>
                </a:ext>
              </a:extLst>
            </p:cNvPr>
            <p:cNvSpPr/>
            <p:nvPr userDrawn="1"/>
          </p:nvSpPr>
          <p:spPr bwMode="auto">
            <a:xfrm>
              <a:off x="10476450" y="1681529"/>
              <a:ext cx="641837" cy="641837"/>
            </a:xfrm>
            <a:custGeom>
              <a:avLst/>
              <a:gdLst>
                <a:gd name="T0" fmla="*/ 40 w 168"/>
                <a:gd name="T1" fmla="*/ 11 h 168"/>
                <a:gd name="T2" fmla="*/ 15 w 168"/>
                <a:gd name="T3" fmla="*/ 34 h 168"/>
                <a:gd name="T4" fmla="*/ 23 w 168"/>
                <a:gd name="T5" fmla="*/ 47 h 168"/>
                <a:gd name="T6" fmla="*/ 24 w 168"/>
                <a:gd name="T7" fmla="*/ 56 h 168"/>
                <a:gd name="T8" fmla="*/ 24 w 168"/>
                <a:gd name="T9" fmla="*/ 56 h 168"/>
                <a:gd name="T10" fmla="*/ 17 w 168"/>
                <a:gd name="T11" fmla="*/ 62 h 168"/>
                <a:gd name="T12" fmla="*/ 1 w 168"/>
                <a:gd name="T13" fmla="*/ 64 h 168"/>
                <a:gd name="T14" fmla="*/ 0 w 168"/>
                <a:gd name="T15" fmla="*/ 98 h 168"/>
                <a:gd name="T16" fmla="*/ 15 w 168"/>
                <a:gd name="T17" fmla="*/ 101 h 168"/>
                <a:gd name="T18" fmla="*/ 22 w 168"/>
                <a:gd name="T19" fmla="*/ 107 h 168"/>
                <a:gd name="T20" fmla="*/ 22 w 168"/>
                <a:gd name="T21" fmla="*/ 107 h 168"/>
                <a:gd name="T22" fmla="*/ 21 w 168"/>
                <a:gd name="T23" fmla="*/ 116 h 168"/>
                <a:gd name="T24" fmla="*/ 11 w 168"/>
                <a:gd name="T25" fmla="*/ 128 h 168"/>
                <a:gd name="T26" fmla="*/ 23 w 168"/>
                <a:gd name="T27" fmla="*/ 140 h 168"/>
                <a:gd name="T28" fmla="*/ 35 w 168"/>
                <a:gd name="T29" fmla="*/ 153 h 168"/>
                <a:gd name="T30" fmla="*/ 48 w 168"/>
                <a:gd name="T31" fmla="*/ 144 h 168"/>
                <a:gd name="T32" fmla="*/ 57 w 168"/>
                <a:gd name="T33" fmla="*/ 144 h 168"/>
                <a:gd name="T34" fmla="*/ 57 w 168"/>
                <a:gd name="T35" fmla="*/ 144 h 168"/>
                <a:gd name="T36" fmla="*/ 62 w 168"/>
                <a:gd name="T37" fmla="*/ 151 h 168"/>
                <a:gd name="T38" fmla="*/ 64 w 168"/>
                <a:gd name="T39" fmla="*/ 166 h 168"/>
                <a:gd name="T40" fmla="*/ 98 w 168"/>
                <a:gd name="T41" fmla="*/ 168 h 168"/>
                <a:gd name="T42" fmla="*/ 101 w 168"/>
                <a:gd name="T43" fmla="*/ 152 h 168"/>
                <a:gd name="T44" fmla="*/ 107 w 168"/>
                <a:gd name="T45" fmla="*/ 146 h 168"/>
                <a:gd name="T46" fmla="*/ 107 w 168"/>
                <a:gd name="T47" fmla="*/ 146 h 168"/>
                <a:gd name="T48" fmla="*/ 116 w 168"/>
                <a:gd name="T49" fmla="*/ 147 h 168"/>
                <a:gd name="T50" fmla="*/ 129 w 168"/>
                <a:gd name="T51" fmla="*/ 156 h 168"/>
                <a:gd name="T52" fmla="*/ 153 w 168"/>
                <a:gd name="T53" fmla="*/ 133 h 168"/>
                <a:gd name="T54" fmla="*/ 145 w 168"/>
                <a:gd name="T55" fmla="*/ 120 h 168"/>
                <a:gd name="T56" fmla="*/ 144 w 168"/>
                <a:gd name="T57" fmla="*/ 111 h 168"/>
                <a:gd name="T58" fmla="*/ 144 w 168"/>
                <a:gd name="T59" fmla="*/ 111 h 168"/>
                <a:gd name="T60" fmla="*/ 152 w 168"/>
                <a:gd name="T61" fmla="*/ 106 h 168"/>
                <a:gd name="T62" fmla="*/ 167 w 168"/>
                <a:gd name="T63" fmla="*/ 104 h 168"/>
                <a:gd name="T64" fmla="*/ 168 w 168"/>
                <a:gd name="T65" fmla="*/ 70 h 168"/>
                <a:gd name="T66" fmla="*/ 153 w 168"/>
                <a:gd name="T67" fmla="*/ 67 h 168"/>
                <a:gd name="T68" fmla="*/ 146 w 168"/>
                <a:gd name="T69" fmla="*/ 61 h 168"/>
                <a:gd name="T70" fmla="*/ 146 w 168"/>
                <a:gd name="T71" fmla="*/ 61 h 168"/>
                <a:gd name="T72" fmla="*/ 147 w 168"/>
                <a:gd name="T73" fmla="*/ 52 h 168"/>
                <a:gd name="T74" fmla="*/ 157 w 168"/>
                <a:gd name="T75" fmla="*/ 39 h 168"/>
                <a:gd name="T76" fmla="*/ 145 w 168"/>
                <a:gd name="T77" fmla="*/ 27 h 168"/>
                <a:gd name="T78" fmla="*/ 134 w 168"/>
                <a:gd name="T79" fmla="*/ 14 h 168"/>
                <a:gd name="T80" fmla="*/ 121 w 168"/>
                <a:gd name="T81" fmla="*/ 23 h 168"/>
                <a:gd name="T82" fmla="*/ 112 w 168"/>
                <a:gd name="T83" fmla="*/ 24 h 168"/>
                <a:gd name="T84" fmla="*/ 112 w 168"/>
                <a:gd name="T85" fmla="*/ 23 h 168"/>
                <a:gd name="T86" fmla="*/ 106 w 168"/>
                <a:gd name="T87" fmla="*/ 16 h 168"/>
                <a:gd name="T88" fmla="*/ 104 w 168"/>
                <a:gd name="T89" fmla="*/ 1 h 168"/>
                <a:gd name="T90" fmla="*/ 70 w 168"/>
                <a:gd name="T91" fmla="*/ 0 h 168"/>
                <a:gd name="T92" fmla="*/ 67 w 168"/>
                <a:gd name="T93" fmla="*/ 15 h 168"/>
                <a:gd name="T94" fmla="*/ 61 w 168"/>
                <a:gd name="T95" fmla="*/ 22 h 168"/>
                <a:gd name="T96" fmla="*/ 61 w 168"/>
                <a:gd name="T97" fmla="*/ 22 h 168"/>
                <a:gd name="T98" fmla="*/ 52 w 168"/>
                <a:gd name="T99" fmla="*/ 20 h 168"/>
                <a:gd name="T100" fmla="*/ 40 w 168"/>
                <a:gd name="T101" fmla="*/ 11 h 168"/>
                <a:gd name="T102" fmla="*/ 121 w 168"/>
                <a:gd name="T103" fmla="*/ 49 h 168"/>
                <a:gd name="T104" fmla="*/ 118 w 168"/>
                <a:gd name="T105" fmla="*/ 120 h 168"/>
                <a:gd name="T106" fmla="*/ 47 w 168"/>
                <a:gd name="T107" fmla="*/ 118 h 168"/>
                <a:gd name="T108" fmla="*/ 50 w 168"/>
                <a:gd name="T109" fmla="*/ 47 h 168"/>
                <a:gd name="T110" fmla="*/ 121 w 168"/>
                <a:gd name="T111" fmla="*/ 49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8" h="168">
                  <a:moveTo>
                    <a:pt x="40" y="11"/>
                  </a:moveTo>
                  <a:cubicBezTo>
                    <a:pt x="15" y="34"/>
                    <a:pt x="15" y="34"/>
                    <a:pt x="15" y="34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5" y="50"/>
                    <a:pt x="25" y="53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3" y="59"/>
                    <a:pt x="20" y="61"/>
                    <a:pt x="17" y="62"/>
                  </a:cubicBezTo>
                  <a:cubicBezTo>
                    <a:pt x="1" y="64"/>
                    <a:pt x="1" y="64"/>
                    <a:pt x="1" y="64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15" y="101"/>
                    <a:pt x="15" y="101"/>
                    <a:pt x="15" y="101"/>
                  </a:cubicBezTo>
                  <a:cubicBezTo>
                    <a:pt x="19" y="101"/>
                    <a:pt x="21" y="104"/>
                    <a:pt x="22" y="107"/>
                  </a:cubicBezTo>
                  <a:cubicBezTo>
                    <a:pt x="22" y="107"/>
                    <a:pt x="22" y="107"/>
                    <a:pt x="22" y="107"/>
                  </a:cubicBezTo>
                  <a:cubicBezTo>
                    <a:pt x="23" y="110"/>
                    <a:pt x="23" y="113"/>
                    <a:pt x="21" y="116"/>
                  </a:cubicBezTo>
                  <a:cubicBezTo>
                    <a:pt x="11" y="128"/>
                    <a:pt x="11" y="128"/>
                    <a:pt x="11" y="128"/>
                  </a:cubicBezTo>
                  <a:cubicBezTo>
                    <a:pt x="23" y="140"/>
                    <a:pt x="23" y="140"/>
                    <a:pt x="23" y="140"/>
                  </a:cubicBezTo>
                  <a:cubicBezTo>
                    <a:pt x="35" y="153"/>
                    <a:pt x="35" y="153"/>
                    <a:pt x="35" y="153"/>
                  </a:cubicBezTo>
                  <a:cubicBezTo>
                    <a:pt x="48" y="144"/>
                    <a:pt x="48" y="144"/>
                    <a:pt x="48" y="144"/>
                  </a:cubicBezTo>
                  <a:cubicBezTo>
                    <a:pt x="50" y="143"/>
                    <a:pt x="54" y="142"/>
                    <a:pt x="57" y="144"/>
                  </a:cubicBezTo>
                  <a:cubicBezTo>
                    <a:pt x="57" y="144"/>
                    <a:pt x="57" y="144"/>
                    <a:pt x="57" y="144"/>
                  </a:cubicBezTo>
                  <a:cubicBezTo>
                    <a:pt x="60" y="145"/>
                    <a:pt x="62" y="148"/>
                    <a:pt x="62" y="151"/>
                  </a:cubicBezTo>
                  <a:cubicBezTo>
                    <a:pt x="64" y="166"/>
                    <a:pt x="64" y="166"/>
                    <a:pt x="64" y="166"/>
                  </a:cubicBezTo>
                  <a:cubicBezTo>
                    <a:pt x="98" y="168"/>
                    <a:pt x="98" y="168"/>
                    <a:pt x="98" y="168"/>
                  </a:cubicBezTo>
                  <a:cubicBezTo>
                    <a:pt x="101" y="152"/>
                    <a:pt x="101" y="152"/>
                    <a:pt x="101" y="152"/>
                  </a:cubicBezTo>
                  <a:cubicBezTo>
                    <a:pt x="102" y="149"/>
                    <a:pt x="104" y="147"/>
                    <a:pt x="107" y="146"/>
                  </a:cubicBezTo>
                  <a:cubicBezTo>
                    <a:pt x="107" y="146"/>
                    <a:pt x="107" y="146"/>
                    <a:pt x="107" y="146"/>
                  </a:cubicBezTo>
                  <a:cubicBezTo>
                    <a:pt x="110" y="145"/>
                    <a:pt x="114" y="145"/>
                    <a:pt x="116" y="147"/>
                  </a:cubicBezTo>
                  <a:cubicBezTo>
                    <a:pt x="129" y="156"/>
                    <a:pt x="129" y="156"/>
                    <a:pt x="129" y="156"/>
                  </a:cubicBezTo>
                  <a:cubicBezTo>
                    <a:pt x="153" y="133"/>
                    <a:pt x="153" y="133"/>
                    <a:pt x="153" y="133"/>
                  </a:cubicBezTo>
                  <a:cubicBezTo>
                    <a:pt x="145" y="120"/>
                    <a:pt x="145" y="120"/>
                    <a:pt x="145" y="120"/>
                  </a:cubicBezTo>
                  <a:cubicBezTo>
                    <a:pt x="143" y="118"/>
                    <a:pt x="143" y="114"/>
                    <a:pt x="144" y="111"/>
                  </a:cubicBezTo>
                  <a:cubicBezTo>
                    <a:pt x="144" y="111"/>
                    <a:pt x="144" y="111"/>
                    <a:pt x="144" y="111"/>
                  </a:cubicBezTo>
                  <a:cubicBezTo>
                    <a:pt x="146" y="108"/>
                    <a:pt x="148" y="106"/>
                    <a:pt x="152" y="106"/>
                  </a:cubicBezTo>
                  <a:cubicBezTo>
                    <a:pt x="167" y="104"/>
                    <a:pt x="167" y="104"/>
                    <a:pt x="167" y="104"/>
                  </a:cubicBezTo>
                  <a:cubicBezTo>
                    <a:pt x="168" y="70"/>
                    <a:pt x="168" y="70"/>
                    <a:pt x="168" y="70"/>
                  </a:cubicBezTo>
                  <a:cubicBezTo>
                    <a:pt x="153" y="67"/>
                    <a:pt x="153" y="67"/>
                    <a:pt x="153" y="67"/>
                  </a:cubicBezTo>
                  <a:cubicBezTo>
                    <a:pt x="150" y="66"/>
                    <a:pt x="147" y="64"/>
                    <a:pt x="146" y="61"/>
                  </a:cubicBezTo>
                  <a:cubicBezTo>
                    <a:pt x="146" y="61"/>
                    <a:pt x="146" y="61"/>
                    <a:pt x="146" y="61"/>
                  </a:cubicBezTo>
                  <a:cubicBezTo>
                    <a:pt x="145" y="58"/>
                    <a:pt x="145" y="54"/>
                    <a:pt x="147" y="52"/>
                  </a:cubicBezTo>
                  <a:cubicBezTo>
                    <a:pt x="157" y="39"/>
                    <a:pt x="157" y="39"/>
                    <a:pt x="157" y="39"/>
                  </a:cubicBezTo>
                  <a:cubicBezTo>
                    <a:pt x="145" y="27"/>
                    <a:pt x="145" y="27"/>
                    <a:pt x="145" y="27"/>
                  </a:cubicBezTo>
                  <a:cubicBezTo>
                    <a:pt x="134" y="14"/>
                    <a:pt x="134" y="14"/>
                    <a:pt x="134" y="14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118" y="25"/>
                    <a:pt x="115" y="25"/>
                    <a:pt x="112" y="24"/>
                  </a:cubicBezTo>
                  <a:cubicBezTo>
                    <a:pt x="112" y="23"/>
                    <a:pt x="112" y="23"/>
                    <a:pt x="112" y="23"/>
                  </a:cubicBezTo>
                  <a:cubicBezTo>
                    <a:pt x="109" y="22"/>
                    <a:pt x="107" y="19"/>
                    <a:pt x="106" y="16"/>
                  </a:cubicBezTo>
                  <a:cubicBezTo>
                    <a:pt x="104" y="1"/>
                    <a:pt x="104" y="1"/>
                    <a:pt x="104" y="1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66" y="18"/>
                    <a:pt x="64" y="20"/>
                    <a:pt x="61" y="22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58" y="23"/>
                    <a:pt x="55" y="22"/>
                    <a:pt x="52" y="20"/>
                  </a:cubicBezTo>
                  <a:lnTo>
                    <a:pt x="40" y="11"/>
                  </a:lnTo>
                  <a:close/>
                  <a:moveTo>
                    <a:pt x="121" y="49"/>
                  </a:moveTo>
                  <a:cubicBezTo>
                    <a:pt x="140" y="70"/>
                    <a:pt x="139" y="102"/>
                    <a:pt x="118" y="120"/>
                  </a:cubicBezTo>
                  <a:cubicBezTo>
                    <a:pt x="98" y="139"/>
                    <a:pt x="66" y="138"/>
                    <a:pt x="47" y="118"/>
                  </a:cubicBezTo>
                  <a:cubicBezTo>
                    <a:pt x="29" y="97"/>
                    <a:pt x="30" y="66"/>
                    <a:pt x="50" y="47"/>
                  </a:cubicBezTo>
                  <a:cubicBezTo>
                    <a:pt x="70" y="28"/>
                    <a:pt x="102" y="29"/>
                    <a:pt x="121" y="49"/>
                  </a:cubicBezTo>
                  <a:close/>
                </a:path>
              </a:pathLst>
            </a:custGeom>
            <a:solidFill>
              <a:srgbClr val="E4E4EF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2" name="ïṧ1îďê">
              <a:extLst>
                <a:ext uri="{FF2B5EF4-FFF2-40B4-BE49-F238E27FC236}">
                  <a16:creationId xmlns:a16="http://schemas.microsoft.com/office/drawing/2014/main" id="{980274B5-FEE3-4ADA-B6E6-89346A994BEF}"/>
                </a:ext>
              </a:extLst>
            </p:cNvPr>
            <p:cNvSpPr/>
            <p:nvPr userDrawn="1"/>
          </p:nvSpPr>
          <p:spPr bwMode="auto">
            <a:xfrm>
              <a:off x="8132921" y="893221"/>
              <a:ext cx="947944" cy="944653"/>
            </a:xfrm>
            <a:custGeom>
              <a:avLst/>
              <a:gdLst>
                <a:gd name="T0" fmla="*/ 59 w 248"/>
                <a:gd name="T1" fmla="*/ 17 h 248"/>
                <a:gd name="T2" fmla="*/ 22 w 248"/>
                <a:gd name="T3" fmla="*/ 51 h 248"/>
                <a:gd name="T4" fmla="*/ 35 w 248"/>
                <a:gd name="T5" fmla="*/ 70 h 248"/>
                <a:gd name="T6" fmla="*/ 36 w 248"/>
                <a:gd name="T7" fmla="*/ 83 h 248"/>
                <a:gd name="T8" fmla="*/ 36 w 248"/>
                <a:gd name="T9" fmla="*/ 83 h 248"/>
                <a:gd name="T10" fmla="*/ 25 w 248"/>
                <a:gd name="T11" fmla="*/ 91 h 248"/>
                <a:gd name="T12" fmla="*/ 2 w 248"/>
                <a:gd name="T13" fmla="*/ 94 h 248"/>
                <a:gd name="T14" fmla="*/ 0 w 248"/>
                <a:gd name="T15" fmla="*/ 144 h 248"/>
                <a:gd name="T16" fmla="*/ 23 w 248"/>
                <a:gd name="T17" fmla="*/ 149 h 248"/>
                <a:gd name="T18" fmla="*/ 33 w 248"/>
                <a:gd name="T19" fmla="*/ 158 h 248"/>
                <a:gd name="T20" fmla="*/ 33 w 248"/>
                <a:gd name="T21" fmla="*/ 158 h 248"/>
                <a:gd name="T22" fmla="*/ 31 w 248"/>
                <a:gd name="T23" fmla="*/ 171 h 248"/>
                <a:gd name="T24" fmla="*/ 17 w 248"/>
                <a:gd name="T25" fmla="*/ 189 h 248"/>
                <a:gd name="T26" fmla="*/ 34 w 248"/>
                <a:gd name="T27" fmla="*/ 207 h 248"/>
                <a:gd name="T28" fmla="*/ 51 w 248"/>
                <a:gd name="T29" fmla="*/ 226 h 248"/>
                <a:gd name="T30" fmla="*/ 70 w 248"/>
                <a:gd name="T31" fmla="*/ 213 h 248"/>
                <a:gd name="T32" fmla="*/ 84 w 248"/>
                <a:gd name="T33" fmla="*/ 212 h 248"/>
                <a:gd name="T34" fmla="*/ 84 w 248"/>
                <a:gd name="T35" fmla="*/ 212 h 248"/>
                <a:gd name="T36" fmla="*/ 92 w 248"/>
                <a:gd name="T37" fmla="*/ 223 h 248"/>
                <a:gd name="T38" fmla="*/ 95 w 248"/>
                <a:gd name="T39" fmla="*/ 246 h 248"/>
                <a:gd name="T40" fmla="*/ 145 w 248"/>
                <a:gd name="T41" fmla="*/ 248 h 248"/>
                <a:gd name="T42" fmla="*/ 149 w 248"/>
                <a:gd name="T43" fmla="*/ 225 h 248"/>
                <a:gd name="T44" fmla="*/ 158 w 248"/>
                <a:gd name="T45" fmla="*/ 215 h 248"/>
                <a:gd name="T46" fmla="*/ 158 w 248"/>
                <a:gd name="T47" fmla="*/ 215 h 248"/>
                <a:gd name="T48" fmla="*/ 171 w 248"/>
                <a:gd name="T49" fmla="*/ 217 h 248"/>
                <a:gd name="T50" fmla="*/ 189 w 248"/>
                <a:gd name="T51" fmla="*/ 231 h 248"/>
                <a:gd name="T52" fmla="*/ 226 w 248"/>
                <a:gd name="T53" fmla="*/ 197 h 248"/>
                <a:gd name="T54" fmla="*/ 213 w 248"/>
                <a:gd name="T55" fmla="*/ 178 h 248"/>
                <a:gd name="T56" fmla="*/ 213 w 248"/>
                <a:gd name="T57" fmla="*/ 165 h 248"/>
                <a:gd name="T58" fmla="*/ 213 w 248"/>
                <a:gd name="T59" fmla="*/ 164 h 248"/>
                <a:gd name="T60" fmla="*/ 223 w 248"/>
                <a:gd name="T61" fmla="*/ 156 h 248"/>
                <a:gd name="T62" fmla="*/ 246 w 248"/>
                <a:gd name="T63" fmla="*/ 153 h 248"/>
                <a:gd name="T64" fmla="*/ 248 w 248"/>
                <a:gd name="T65" fmla="*/ 103 h 248"/>
                <a:gd name="T66" fmla="*/ 225 w 248"/>
                <a:gd name="T67" fmla="*/ 99 h 248"/>
                <a:gd name="T68" fmla="*/ 215 w 248"/>
                <a:gd name="T69" fmla="*/ 90 h 248"/>
                <a:gd name="T70" fmla="*/ 215 w 248"/>
                <a:gd name="T71" fmla="*/ 90 h 248"/>
                <a:gd name="T72" fmla="*/ 217 w 248"/>
                <a:gd name="T73" fmla="*/ 77 h 248"/>
                <a:gd name="T74" fmla="*/ 231 w 248"/>
                <a:gd name="T75" fmla="*/ 59 h 248"/>
                <a:gd name="T76" fmla="*/ 214 w 248"/>
                <a:gd name="T77" fmla="*/ 40 h 248"/>
                <a:gd name="T78" fmla="*/ 197 w 248"/>
                <a:gd name="T79" fmla="*/ 22 h 248"/>
                <a:gd name="T80" fmla="*/ 178 w 248"/>
                <a:gd name="T81" fmla="*/ 35 h 248"/>
                <a:gd name="T82" fmla="*/ 165 w 248"/>
                <a:gd name="T83" fmla="*/ 35 h 248"/>
                <a:gd name="T84" fmla="*/ 165 w 248"/>
                <a:gd name="T85" fmla="*/ 35 h 248"/>
                <a:gd name="T86" fmla="*/ 157 w 248"/>
                <a:gd name="T87" fmla="*/ 25 h 248"/>
                <a:gd name="T88" fmla="*/ 154 w 248"/>
                <a:gd name="T89" fmla="*/ 2 h 248"/>
                <a:gd name="T90" fmla="*/ 104 w 248"/>
                <a:gd name="T91" fmla="*/ 0 h 248"/>
                <a:gd name="T92" fmla="*/ 99 w 248"/>
                <a:gd name="T93" fmla="*/ 23 h 248"/>
                <a:gd name="T94" fmla="*/ 90 w 248"/>
                <a:gd name="T95" fmla="*/ 33 h 248"/>
                <a:gd name="T96" fmla="*/ 90 w 248"/>
                <a:gd name="T97" fmla="*/ 33 h 248"/>
                <a:gd name="T98" fmla="*/ 77 w 248"/>
                <a:gd name="T99" fmla="*/ 31 h 248"/>
                <a:gd name="T100" fmla="*/ 59 w 248"/>
                <a:gd name="T101" fmla="*/ 17 h 248"/>
                <a:gd name="T102" fmla="*/ 178 w 248"/>
                <a:gd name="T103" fmla="*/ 74 h 248"/>
                <a:gd name="T104" fmla="*/ 174 w 248"/>
                <a:gd name="T105" fmla="*/ 178 h 248"/>
                <a:gd name="T106" fmla="*/ 70 w 248"/>
                <a:gd name="T107" fmla="*/ 174 h 248"/>
                <a:gd name="T108" fmla="*/ 74 w 248"/>
                <a:gd name="T109" fmla="*/ 70 h 248"/>
                <a:gd name="T110" fmla="*/ 178 w 248"/>
                <a:gd name="T111" fmla="*/ 74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48" h="248">
                  <a:moveTo>
                    <a:pt x="59" y="17"/>
                  </a:moveTo>
                  <a:cubicBezTo>
                    <a:pt x="22" y="51"/>
                    <a:pt x="22" y="51"/>
                    <a:pt x="22" y="51"/>
                  </a:cubicBezTo>
                  <a:cubicBezTo>
                    <a:pt x="35" y="70"/>
                    <a:pt x="35" y="70"/>
                    <a:pt x="35" y="70"/>
                  </a:cubicBezTo>
                  <a:cubicBezTo>
                    <a:pt x="37" y="74"/>
                    <a:pt x="38" y="79"/>
                    <a:pt x="36" y="83"/>
                  </a:cubicBezTo>
                  <a:cubicBezTo>
                    <a:pt x="36" y="83"/>
                    <a:pt x="36" y="83"/>
                    <a:pt x="36" y="83"/>
                  </a:cubicBezTo>
                  <a:cubicBezTo>
                    <a:pt x="34" y="88"/>
                    <a:pt x="30" y="91"/>
                    <a:pt x="25" y="91"/>
                  </a:cubicBezTo>
                  <a:cubicBezTo>
                    <a:pt x="2" y="94"/>
                    <a:pt x="2" y="94"/>
                    <a:pt x="2" y="9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23" y="149"/>
                    <a:pt x="23" y="149"/>
                    <a:pt x="23" y="149"/>
                  </a:cubicBezTo>
                  <a:cubicBezTo>
                    <a:pt x="28" y="150"/>
                    <a:pt x="31" y="153"/>
                    <a:pt x="33" y="158"/>
                  </a:cubicBezTo>
                  <a:cubicBezTo>
                    <a:pt x="33" y="158"/>
                    <a:pt x="33" y="158"/>
                    <a:pt x="33" y="158"/>
                  </a:cubicBezTo>
                  <a:cubicBezTo>
                    <a:pt x="35" y="162"/>
                    <a:pt x="34" y="167"/>
                    <a:pt x="31" y="171"/>
                  </a:cubicBezTo>
                  <a:cubicBezTo>
                    <a:pt x="17" y="189"/>
                    <a:pt x="17" y="189"/>
                    <a:pt x="17" y="189"/>
                  </a:cubicBezTo>
                  <a:cubicBezTo>
                    <a:pt x="34" y="207"/>
                    <a:pt x="34" y="207"/>
                    <a:pt x="34" y="207"/>
                  </a:cubicBezTo>
                  <a:cubicBezTo>
                    <a:pt x="51" y="226"/>
                    <a:pt x="51" y="226"/>
                    <a:pt x="51" y="226"/>
                  </a:cubicBezTo>
                  <a:cubicBezTo>
                    <a:pt x="70" y="213"/>
                    <a:pt x="70" y="213"/>
                    <a:pt x="70" y="213"/>
                  </a:cubicBezTo>
                  <a:cubicBezTo>
                    <a:pt x="74" y="211"/>
                    <a:pt x="79" y="210"/>
                    <a:pt x="84" y="212"/>
                  </a:cubicBezTo>
                  <a:cubicBezTo>
                    <a:pt x="84" y="212"/>
                    <a:pt x="84" y="212"/>
                    <a:pt x="84" y="212"/>
                  </a:cubicBezTo>
                  <a:cubicBezTo>
                    <a:pt x="88" y="214"/>
                    <a:pt x="91" y="218"/>
                    <a:pt x="92" y="223"/>
                  </a:cubicBezTo>
                  <a:cubicBezTo>
                    <a:pt x="95" y="246"/>
                    <a:pt x="95" y="246"/>
                    <a:pt x="95" y="246"/>
                  </a:cubicBezTo>
                  <a:cubicBezTo>
                    <a:pt x="145" y="248"/>
                    <a:pt x="145" y="248"/>
                    <a:pt x="145" y="248"/>
                  </a:cubicBezTo>
                  <a:cubicBezTo>
                    <a:pt x="149" y="225"/>
                    <a:pt x="149" y="225"/>
                    <a:pt x="149" y="225"/>
                  </a:cubicBezTo>
                  <a:cubicBezTo>
                    <a:pt x="150" y="220"/>
                    <a:pt x="154" y="217"/>
                    <a:pt x="158" y="215"/>
                  </a:cubicBezTo>
                  <a:cubicBezTo>
                    <a:pt x="158" y="215"/>
                    <a:pt x="158" y="215"/>
                    <a:pt x="158" y="215"/>
                  </a:cubicBezTo>
                  <a:cubicBezTo>
                    <a:pt x="163" y="213"/>
                    <a:pt x="167" y="214"/>
                    <a:pt x="171" y="217"/>
                  </a:cubicBezTo>
                  <a:cubicBezTo>
                    <a:pt x="189" y="231"/>
                    <a:pt x="189" y="231"/>
                    <a:pt x="189" y="231"/>
                  </a:cubicBezTo>
                  <a:cubicBezTo>
                    <a:pt x="226" y="197"/>
                    <a:pt x="226" y="197"/>
                    <a:pt x="226" y="197"/>
                  </a:cubicBezTo>
                  <a:cubicBezTo>
                    <a:pt x="213" y="178"/>
                    <a:pt x="213" y="178"/>
                    <a:pt x="213" y="178"/>
                  </a:cubicBezTo>
                  <a:cubicBezTo>
                    <a:pt x="211" y="174"/>
                    <a:pt x="211" y="169"/>
                    <a:pt x="213" y="165"/>
                  </a:cubicBezTo>
                  <a:cubicBezTo>
                    <a:pt x="213" y="164"/>
                    <a:pt x="213" y="164"/>
                    <a:pt x="213" y="164"/>
                  </a:cubicBezTo>
                  <a:cubicBezTo>
                    <a:pt x="215" y="160"/>
                    <a:pt x="219" y="157"/>
                    <a:pt x="223" y="156"/>
                  </a:cubicBezTo>
                  <a:cubicBezTo>
                    <a:pt x="246" y="153"/>
                    <a:pt x="246" y="153"/>
                    <a:pt x="246" y="153"/>
                  </a:cubicBezTo>
                  <a:cubicBezTo>
                    <a:pt x="248" y="103"/>
                    <a:pt x="248" y="103"/>
                    <a:pt x="248" y="103"/>
                  </a:cubicBezTo>
                  <a:cubicBezTo>
                    <a:pt x="225" y="99"/>
                    <a:pt x="225" y="99"/>
                    <a:pt x="225" y="99"/>
                  </a:cubicBezTo>
                  <a:cubicBezTo>
                    <a:pt x="221" y="98"/>
                    <a:pt x="217" y="94"/>
                    <a:pt x="215" y="90"/>
                  </a:cubicBezTo>
                  <a:cubicBezTo>
                    <a:pt x="215" y="90"/>
                    <a:pt x="215" y="90"/>
                    <a:pt x="215" y="90"/>
                  </a:cubicBezTo>
                  <a:cubicBezTo>
                    <a:pt x="214" y="86"/>
                    <a:pt x="214" y="81"/>
                    <a:pt x="217" y="77"/>
                  </a:cubicBezTo>
                  <a:cubicBezTo>
                    <a:pt x="231" y="59"/>
                    <a:pt x="231" y="59"/>
                    <a:pt x="231" y="59"/>
                  </a:cubicBezTo>
                  <a:cubicBezTo>
                    <a:pt x="214" y="40"/>
                    <a:pt x="214" y="40"/>
                    <a:pt x="214" y="40"/>
                  </a:cubicBezTo>
                  <a:cubicBezTo>
                    <a:pt x="197" y="22"/>
                    <a:pt x="197" y="22"/>
                    <a:pt x="197" y="22"/>
                  </a:cubicBezTo>
                  <a:cubicBezTo>
                    <a:pt x="178" y="35"/>
                    <a:pt x="178" y="35"/>
                    <a:pt x="178" y="35"/>
                  </a:cubicBezTo>
                  <a:cubicBezTo>
                    <a:pt x="174" y="37"/>
                    <a:pt x="169" y="37"/>
                    <a:pt x="165" y="35"/>
                  </a:cubicBezTo>
                  <a:cubicBezTo>
                    <a:pt x="165" y="35"/>
                    <a:pt x="165" y="35"/>
                    <a:pt x="165" y="35"/>
                  </a:cubicBezTo>
                  <a:cubicBezTo>
                    <a:pt x="160" y="33"/>
                    <a:pt x="157" y="30"/>
                    <a:pt x="157" y="25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99" y="23"/>
                    <a:pt x="99" y="23"/>
                    <a:pt x="99" y="23"/>
                  </a:cubicBezTo>
                  <a:cubicBezTo>
                    <a:pt x="98" y="27"/>
                    <a:pt x="95" y="31"/>
                    <a:pt x="90" y="33"/>
                  </a:cubicBezTo>
                  <a:cubicBezTo>
                    <a:pt x="90" y="33"/>
                    <a:pt x="90" y="33"/>
                    <a:pt x="90" y="33"/>
                  </a:cubicBezTo>
                  <a:cubicBezTo>
                    <a:pt x="86" y="34"/>
                    <a:pt x="81" y="34"/>
                    <a:pt x="77" y="31"/>
                  </a:cubicBezTo>
                  <a:lnTo>
                    <a:pt x="59" y="17"/>
                  </a:lnTo>
                  <a:close/>
                  <a:moveTo>
                    <a:pt x="178" y="74"/>
                  </a:moveTo>
                  <a:cubicBezTo>
                    <a:pt x="206" y="104"/>
                    <a:pt x="204" y="150"/>
                    <a:pt x="174" y="178"/>
                  </a:cubicBezTo>
                  <a:cubicBezTo>
                    <a:pt x="145" y="206"/>
                    <a:pt x="98" y="204"/>
                    <a:pt x="70" y="174"/>
                  </a:cubicBezTo>
                  <a:cubicBezTo>
                    <a:pt x="42" y="144"/>
                    <a:pt x="44" y="98"/>
                    <a:pt x="74" y="70"/>
                  </a:cubicBezTo>
                  <a:cubicBezTo>
                    <a:pt x="104" y="42"/>
                    <a:pt x="151" y="44"/>
                    <a:pt x="178" y="74"/>
                  </a:cubicBezTo>
                  <a:close/>
                </a:path>
              </a:pathLst>
            </a:custGeom>
            <a:solidFill>
              <a:srgbClr val="E4E4EF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3" name="íşlïďê">
              <a:extLst>
                <a:ext uri="{FF2B5EF4-FFF2-40B4-BE49-F238E27FC236}">
                  <a16:creationId xmlns:a16="http://schemas.microsoft.com/office/drawing/2014/main" id="{85DB3A15-AB74-4EC4-89E1-54F8EC958C30}"/>
                </a:ext>
              </a:extLst>
            </p:cNvPr>
            <p:cNvSpPr/>
            <p:nvPr userDrawn="1"/>
          </p:nvSpPr>
          <p:spPr bwMode="auto">
            <a:xfrm>
              <a:off x="5889782" y="4192923"/>
              <a:ext cx="5045828" cy="130014"/>
            </a:xfrm>
            <a:custGeom>
              <a:avLst/>
              <a:gdLst>
                <a:gd name="T0" fmla="*/ 17 w 1320"/>
                <a:gd name="T1" fmla="*/ 34 h 34"/>
                <a:gd name="T2" fmla="*/ 1303 w 1320"/>
                <a:gd name="T3" fmla="*/ 34 h 34"/>
                <a:gd name="T4" fmla="*/ 1320 w 1320"/>
                <a:gd name="T5" fmla="*/ 17 h 34"/>
                <a:gd name="T6" fmla="*/ 1303 w 1320"/>
                <a:gd name="T7" fmla="*/ 0 h 34"/>
                <a:gd name="T8" fmla="*/ 17 w 1320"/>
                <a:gd name="T9" fmla="*/ 0 h 34"/>
                <a:gd name="T10" fmla="*/ 0 w 1320"/>
                <a:gd name="T11" fmla="*/ 17 h 34"/>
                <a:gd name="T12" fmla="*/ 17 w 1320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20" h="34">
                  <a:moveTo>
                    <a:pt x="17" y="34"/>
                  </a:moveTo>
                  <a:cubicBezTo>
                    <a:pt x="1303" y="34"/>
                    <a:pt x="1303" y="34"/>
                    <a:pt x="1303" y="34"/>
                  </a:cubicBezTo>
                  <a:cubicBezTo>
                    <a:pt x="1313" y="34"/>
                    <a:pt x="1320" y="27"/>
                    <a:pt x="1320" y="17"/>
                  </a:cubicBezTo>
                  <a:cubicBezTo>
                    <a:pt x="1320" y="8"/>
                    <a:pt x="1313" y="0"/>
                    <a:pt x="1303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7" y="0"/>
                    <a:pt x="0" y="8"/>
                    <a:pt x="0" y="17"/>
                  </a:cubicBezTo>
                  <a:cubicBezTo>
                    <a:pt x="0" y="27"/>
                    <a:pt x="7" y="34"/>
                    <a:pt x="17" y="34"/>
                  </a:cubicBezTo>
                  <a:close/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4" name="íśḷïdè">
              <a:extLst>
                <a:ext uri="{FF2B5EF4-FFF2-40B4-BE49-F238E27FC236}">
                  <a16:creationId xmlns:a16="http://schemas.microsoft.com/office/drawing/2014/main" id="{DF070FDD-3B3F-42A2-9C90-11DE14A3DA5C}"/>
                </a:ext>
              </a:extLst>
            </p:cNvPr>
            <p:cNvSpPr/>
            <p:nvPr userDrawn="1"/>
          </p:nvSpPr>
          <p:spPr bwMode="auto">
            <a:xfrm>
              <a:off x="5893073" y="4285085"/>
              <a:ext cx="5037600" cy="37852"/>
            </a:xfrm>
            <a:custGeom>
              <a:avLst/>
              <a:gdLst>
                <a:gd name="T0" fmla="*/ 0 w 1318"/>
                <a:gd name="T1" fmla="*/ 0 h 10"/>
                <a:gd name="T2" fmla="*/ 16 w 1318"/>
                <a:gd name="T3" fmla="*/ 10 h 10"/>
                <a:gd name="T4" fmla="*/ 1302 w 1318"/>
                <a:gd name="T5" fmla="*/ 10 h 10"/>
                <a:gd name="T6" fmla="*/ 1318 w 1318"/>
                <a:gd name="T7" fmla="*/ 0 h 10"/>
                <a:gd name="T8" fmla="*/ 0 w 1318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18" h="10">
                  <a:moveTo>
                    <a:pt x="0" y="0"/>
                  </a:moveTo>
                  <a:cubicBezTo>
                    <a:pt x="3" y="6"/>
                    <a:pt x="9" y="10"/>
                    <a:pt x="16" y="10"/>
                  </a:cubicBezTo>
                  <a:cubicBezTo>
                    <a:pt x="1302" y="10"/>
                    <a:pt x="1302" y="10"/>
                    <a:pt x="1302" y="10"/>
                  </a:cubicBezTo>
                  <a:cubicBezTo>
                    <a:pt x="1309" y="10"/>
                    <a:pt x="1315" y="6"/>
                    <a:pt x="1318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5" name="îṥlïḋê">
              <a:extLst>
                <a:ext uri="{FF2B5EF4-FFF2-40B4-BE49-F238E27FC236}">
                  <a16:creationId xmlns:a16="http://schemas.microsoft.com/office/drawing/2014/main" id="{5AA64555-A021-4CA7-A924-45D5A726CC58}"/>
                </a:ext>
              </a:extLst>
            </p:cNvPr>
            <p:cNvSpPr/>
            <p:nvPr userDrawn="1"/>
          </p:nvSpPr>
          <p:spPr bwMode="auto">
            <a:xfrm>
              <a:off x="7403859" y="4123802"/>
              <a:ext cx="1823476" cy="69121"/>
            </a:xfrm>
            <a:prstGeom prst="rect">
              <a:avLst/>
            </a:prstGeom>
            <a:solidFill>
              <a:srgbClr val="C5C4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6" name="îṣľíḑê">
              <a:extLst>
                <a:ext uri="{FF2B5EF4-FFF2-40B4-BE49-F238E27FC236}">
                  <a16:creationId xmlns:a16="http://schemas.microsoft.com/office/drawing/2014/main" id="{6FB22006-4AD4-4B3C-8AE3-96A4C69E8CA9}"/>
                </a:ext>
              </a:extLst>
            </p:cNvPr>
            <p:cNvSpPr/>
            <p:nvPr userDrawn="1"/>
          </p:nvSpPr>
          <p:spPr bwMode="auto">
            <a:xfrm>
              <a:off x="7589828" y="4123802"/>
              <a:ext cx="1823476" cy="69121"/>
            </a:xfrm>
            <a:prstGeom prst="rect">
              <a:avLst/>
            </a:prstGeom>
            <a:solidFill>
              <a:srgbClr val="A5A5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7" name="iṩ1idè">
              <a:extLst>
                <a:ext uri="{FF2B5EF4-FFF2-40B4-BE49-F238E27FC236}">
                  <a16:creationId xmlns:a16="http://schemas.microsoft.com/office/drawing/2014/main" id="{14D09A72-7FDC-4DF1-9BB5-DD2BDB039053}"/>
                </a:ext>
              </a:extLst>
            </p:cNvPr>
            <p:cNvSpPr/>
            <p:nvPr userDrawn="1"/>
          </p:nvSpPr>
          <p:spPr bwMode="auto">
            <a:xfrm>
              <a:off x="6956219" y="1877371"/>
              <a:ext cx="2927766" cy="1826768"/>
            </a:xfrm>
            <a:custGeom>
              <a:avLst/>
              <a:gdLst>
                <a:gd name="T0" fmla="*/ 738 w 766"/>
                <a:gd name="T1" fmla="*/ 479 h 479"/>
                <a:gd name="T2" fmla="*/ 28 w 766"/>
                <a:gd name="T3" fmla="*/ 479 h 479"/>
                <a:gd name="T4" fmla="*/ 0 w 766"/>
                <a:gd name="T5" fmla="*/ 451 h 479"/>
                <a:gd name="T6" fmla="*/ 0 w 766"/>
                <a:gd name="T7" fmla="*/ 28 h 479"/>
                <a:gd name="T8" fmla="*/ 28 w 766"/>
                <a:gd name="T9" fmla="*/ 0 h 479"/>
                <a:gd name="T10" fmla="*/ 738 w 766"/>
                <a:gd name="T11" fmla="*/ 0 h 479"/>
                <a:gd name="T12" fmla="*/ 766 w 766"/>
                <a:gd name="T13" fmla="*/ 28 h 479"/>
                <a:gd name="T14" fmla="*/ 766 w 766"/>
                <a:gd name="T15" fmla="*/ 451 h 479"/>
                <a:gd name="T16" fmla="*/ 738 w 766"/>
                <a:gd name="T17" fmla="*/ 479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6" h="479">
                  <a:moveTo>
                    <a:pt x="738" y="479"/>
                  </a:moveTo>
                  <a:cubicBezTo>
                    <a:pt x="28" y="479"/>
                    <a:pt x="28" y="479"/>
                    <a:pt x="28" y="479"/>
                  </a:cubicBezTo>
                  <a:cubicBezTo>
                    <a:pt x="12" y="479"/>
                    <a:pt x="0" y="467"/>
                    <a:pt x="0" y="451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2" y="0"/>
                    <a:pt x="28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53" y="0"/>
                    <a:pt x="766" y="13"/>
                    <a:pt x="766" y="28"/>
                  </a:cubicBezTo>
                  <a:cubicBezTo>
                    <a:pt x="766" y="451"/>
                    <a:pt x="766" y="451"/>
                    <a:pt x="766" y="451"/>
                  </a:cubicBezTo>
                  <a:cubicBezTo>
                    <a:pt x="766" y="467"/>
                    <a:pt x="753" y="479"/>
                    <a:pt x="738" y="479"/>
                  </a:cubicBezTo>
                </a:path>
              </a:pathLst>
            </a:custGeom>
            <a:solidFill>
              <a:srgbClr val="3E4766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9" name="ïŝḻïḓè">
              <a:extLst>
                <a:ext uri="{FF2B5EF4-FFF2-40B4-BE49-F238E27FC236}">
                  <a16:creationId xmlns:a16="http://schemas.microsoft.com/office/drawing/2014/main" id="{C3DB54A8-9D12-4E09-8326-69DA8BA64F54}"/>
                </a:ext>
              </a:extLst>
            </p:cNvPr>
            <p:cNvSpPr/>
            <p:nvPr userDrawn="1"/>
          </p:nvSpPr>
          <p:spPr bwMode="auto">
            <a:xfrm>
              <a:off x="6956219" y="1877371"/>
              <a:ext cx="2927766" cy="190905"/>
            </a:xfrm>
            <a:custGeom>
              <a:avLst/>
              <a:gdLst>
                <a:gd name="T0" fmla="*/ 766 w 766"/>
                <a:gd name="T1" fmla="*/ 50 h 50"/>
                <a:gd name="T2" fmla="*/ 766 w 766"/>
                <a:gd name="T3" fmla="*/ 26 h 50"/>
                <a:gd name="T4" fmla="*/ 740 w 766"/>
                <a:gd name="T5" fmla="*/ 0 h 50"/>
                <a:gd name="T6" fmla="*/ 25 w 766"/>
                <a:gd name="T7" fmla="*/ 0 h 50"/>
                <a:gd name="T8" fmla="*/ 0 w 766"/>
                <a:gd name="T9" fmla="*/ 26 h 50"/>
                <a:gd name="T10" fmla="*/ 0 w 766"/>
                <a:gd name="T11" fmla="*/ 50 h 50"/>
                <a:gd name="T12" fmla="*/ 766 w 766"/>
                <a:gd name="T1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6" h="50">
                  <a:moveTo>
                    <a:pt x="766" y="50"/>
                  </a:moveTo>
                  <a:cubicBezTo>
                    <a:pt x="766" y="26"/>
                    <a:pt x="766" y="26"/>
                    <a:pt x="766" y="26"/>
                  </a:cubicBezTo>
                  <a:cubicBezTo>
                    <a:pt x="766" y="12"/>
                    <a:pt x="754" y="0"/>
                    <a:pt x="740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2"/>
                    <a:pt x="0" y="26"/>
                  </a:cubicBezTo>
                  <a:cubicBezTo>
                    <a:pt x="0" y="50"/>
                    <a:pt x="0" y="50"/>
                    <a:pt x="0" y="50"/>
                  </a:cubicBezTo>
                  <a:lnTo>
                    <a:pt x="766" y="50"/>
                  </a:lnTo>
                  <a:close/>
                </a:path>
              </a:pathLst>
            </a:custGeom>
            <a:solidFill>
              <a:srgbClr val="A7A6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0" name="íṧľîḑe">
              <a:extLst>
                <a:ext uri="{FF2B5EF4-FFF2-40B4-BE49-F238E27FC236}">
                  <a16:creationId xmlns:a16="http://schemas.microsoft.com/office/drawing/2014/main" id="{D06E1C7D-10B1-46DD-8837-D0D9ED23AF29}"/>
                </a:ext>
              </a:extLst>
            </p:cNvPr>
            <p:cNvSpPr/>
            <p:nvPr userDrawn="1"/>
          </p:nvSpPr>
          <p:spPr bwMode="auto">
            <a:xfrm>
              <a:off x="8649682" y="2815441"/>
              <a:ext cx="404851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1" name="ísļídè">
              <a:extLst>
                <a:ext uri="{FF2B5EF4-FFF2-40B4-BE49-F238E27FC236}">
                  <a16:creationId xmlns:a16="http://schemas.microsoft.com/office/drawing/2014/main" id="{540BD6BA-B67B-4C03-9BC3-ED00C075C9EF}"/>
                </a:ext>
              </a:extLst>
            </p:cNvPr>
            <p:cNvSpPr/>
            <p:nvPr userDrawn="1"/>
          </p:nvSpPr>
          <p:spPr bwMode="auto">
            <a:xfrm>
              <a:off x="8649682" y="2948746"/>
              <a:ext cx="503595" cy="69121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2" name="îSlíḑè">
              <a:extLst>
                <a:ext uri="{FF2B5EF4-FFF2-40B4-BE49-F238E27FC236}">
                  <a16:creationId xmlns:a16="http://schemas.microsoft.com/office/drawing/2014/main" id="{48D2C1FF-CA7F-4364-ACA8-E86E9C4A2FB9}"/>
                </a:ext>
              </a:extLst>
            </p:cNvPr>
            <p:cNvSpPr/>
            <p:nvPr userDrawn="1"/>
          </p:nvSpPr>
          <p:spPr bwMode="auto">
            <a:xfrm>
              <a:off x="9204295" y="2948746"/>
              <a:ext cx="248507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3" name="ïslíďê">
              <a:extLst>
                <a:ext uri="{FF2B5EF4-FFF2-40B4-BE49-F238E27FC236}">
                  <a16:creationId xmlns:a16="http://schemas.microsoft.com/office/drawing/2014/main" id="{ABB148EF-2A54-4095-9A91-5040573014B5}"/>
                </a:ext>
              </a:extLst>
            </p:cNvPr>
            <p:cNvSpPr/>
            <p:nvPr userDrawn="1"/>
          </p:nvSpPr>
          <p:spPr bwMode="auto">
            <a:xfrm>
              <a:off x="8649682" y="3082051"/>
              <a:ext cx="199135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4" name="íṥļïďé">
              <a:extLst>
                <a:ext uri="{FF2B5EF4-FFF2-40B4-BE49-F238E27FC236}">
                  <a16:creationId xmlns:a16="http://schemas.microsoft.com/office/drawing/2014/main" id="{873428B1-5B23-4769-A0A3-FD01B2E619AC}"/>
                </a:ext>
              </a:extLst>
            </p:cNvPr>
            <p:cNvSpPr/>
            <p:nvPr userDrawn="1"/>
          </p:nvSpPr>
          <p:spPr bwMode="auto">
            <a:xfrm>
              <a:off x="8916292" y="3082051"/>
              <a:ext cx="742228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5" name="ïṧḻiďê">
              <a:extLst>
                <a:ext uri="{FF2B5EF4-FFF2-40B4-BE49-F238E27FC236}">
                  <a16:creationId xmlns:a16="http://schemas.microsoft.com/office/drawing/2014/main" id="{EB0837A3-A486-4C63-99EC-8F080016F569}"/>
                </a:ext>
              </a:extLst>
            </p:cNvPr>
            <p:cNvSpPr/>
            <p:nvPr userDrawn="1"/>
          </p:nvSpPr>
          <p:spPr bwMode="auto">
            <a:xfrm>
              <a:off x="8916292" y="3082051"/>
              <a:ext cx="742228" cy="691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6" name="îṩḻiḓê">
              <a:extLst>
                <a:ext uri="{FF2B5EF4-FFF2-40B4-BE49-F238E27FC236}">
                  <a16:creationId xmlns:a16="http://schemas.microsoft.com/office/drawing/2014/main" id="{406BF31B-9AB2-44E3-9C34-ECFB97EF68DF}"/>
                </a:ext>
              </a:extLst>
            </p:cNvPr>
            <p:cNvSpPr/>
            <p:nvPr userDrawn="1"/>
          </p:nvSpPr>
          <p:spPr bwMode="auto">
            <a:xfrm>
              <a:off x="9146695" y="2815441"/>
              <a:ext cx="232049" cy="69121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7" name="îŝ1îḍê">
              <a:extLst>
                <a:ext uri="{FF2B5EF4-FFF2-40B4-BE49-F238E27FC236}">
                  <a16:creationId xmlns:a16="http://schemas.microsoft.com/office/drawing/2014/main" id="{2A055191-2855-4659-8E24-A69CF63CC376}"/>
                </a:ext>
              </a:extLst>
            </p:cNvPr>
            <p:cNvSpPr/>
            <p:nvPr userDrawn="1"/>
          </p:nvSpPr>
          <p:spPr bwMode="auto">
            <a:xfrm>
              <a:off x="8649682" y="2185125"/>
              <a:ext cx="404851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8" name="iṩ1îďé">
              <a:extLst>
                <a:ext uri="{FF2B5EF4-FFF2-40B4-BE49-F238E27FC236}">
                  <a16:creationId xmlns:a16="http://schemas.microsoft.com/office/drawing/2014/main" id="{48CEF17B-25F9-497F-A827-D0119AD60755}"/>
                </a:ext>
              </a:extLst>
            </p:cNvPr>
            <p:cNvSpPr/>
            <p:nvPr userDrawn="1"/>
          </p:nvSpPr>
          <p:spPr bwMode="auto">
            <a:xfrm>
              <a:off x="8649682" y="2320075"/>
              <a:ext cx="503595" cy="67476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9" name="iSḻíḍe">
              <a:extLst>
                <a:ext uri="{FF2B5EF4-FFF2-40B4-BE49-F238E27FC236}">
                  <a16:creationId xmlns:a16="http://schemas.microsoft.com/office/drawing/2014/main" id="{F225C5E7-7304-4C79-BFAE-2F8B07F08B2D}"/>
                </a:ext>
              </a:extLst>
            </p:cNvPr>
            <p:cNvSpPr/>
            <p:nvPr userDrawn="1"/>
          </p:nvSpPr>
          <p:spPr bwMode="auto">
            <a:xfrm>
              <a:off x="9204295" y="2320075"/>
              <a:ext cx="248507" cy="67476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0" name="íṥ1iḍè">
              <a:extLst>
                <a:ext uri="{FF2B5EF4-FFF2-40B4-BE49-F238E27FC236}">
                  <a16:creationId xmlns:a16="http://schemas.microsoft.com/office/drawing/2014/main" id="{200E071C-D07C-40C7-8E35-2466C97BE710}"/>
                </a:ext>
              </a:extLst>
            </p:cNvPr>
            <p:cNvSpPr/>
            <p:nvPr userDrawn="1"/>
          </p:nvSpPr>
          <p:spPr bwMode="auto">
            <a:xfrm>
              <a:off x="8649682" y="2453379"/>
              <a:ext cx="199135" cy="67476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1" name="íṡ1íḓe">
              <a:extLst>
                <a:ext uri="{FF2B5EF4-FFF2-40B4-BE49-F238E27FC236}">
                  <a16:creationId xmlns:a16="http://schemas.microsoft.com/office/drawing/2014/main" id="{BE25401D-960A-4B1C-B168-DBFF07FF2D3A}"/>
                </a:ext>
              </a:extLst>
            </p:cNvPr>
            <p:cNvSpPr/>
            <p:nvPr userDrawn="1"/>
          </p:nvSpPr>
          <p:spPr bwMode="auto">
            <a:xfrm>
              <a:off x="8916292" y="2453379"/>
              <a:ext cx="742228" cy="67476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2" name="íŝľíḑe">
              <a:extLst>
                <a:ext uri="{FF2B5EF4-FFF2-40B4-BE49-F238E27FC236}">
                  <a16:creationId xmlns:a16="http://schemas.microsoft.com/office/drawing/2014/main" id="{C5B4C4D9-139F-4D4F-94BF-58A605B41A48}"/>
                </a:ext>
              </a:extLst>
            </p:cNvPr>
            <p:cNvSpPr/>
            <p:nvPr userDrawn="1"/>
          </p:nvSpPr>
          <p:spPr bwMode="auto">
            <a:xfrm>
              <a:off x="9146695" y="2185125"/>
              <a:ext cx="232049" cy="69121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3" name="ïṥ1îḓè">
              <a:extLst>
                <a:ext uri="{FF2B5EF4-FFF2-40B4-BE49-F238E27FC236}">
                  <a16:creationId xmlns:a16="http://schemas.microsoft.com/office/drawing/2014/main" id="{45897B7C-5CF3-4D23-B816-3B2A57853241}"/>
                </a:ext>
              </a:extLst>
            </p:cNvPr>
            <p:cNvSpPr/>
            <p:nvPr userDrawn="1"/>
          </p:nvSpPr>
          <p:spPr bwMode="auto">
            <a:xfrm>
              <a:off x="7280430" y="2815441"/>
              <a:ext cx="406497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4" name="íṡḷidê">
              <a:extLst>
                <a:ext uri="{FF2B5EF4-FFF2-40B4-BE49-F238E27FC236}">
                  <a16:creationId xmlns:a16="http://schemas.microsoft.com/office/drawing/2014/main" id="{A916F33C-EA89-49B2-A647-F1E9D5793283}"/>
                </a:ext>
              </a:extLst>
            </p:cNvPr>
            <p:cNvSpPr/>
            <p:nvPr userDrawn="1"/>
          </p:nvSpPr>
          <p:spPr bwMode="auto">
            <a:xfrm>
              <a:off x="7280430" y="2948746"/>
              <a:ext cx="501950" cy="69121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5" name="ïSḻïḑe">
              <a:extLst>
                <a:ext uri="{FF2B5EF4-FFF2-40B4-BE49-F238E27FC236}">
                  <a16:creationId xmlns:a16="http://schemas.microsoft.com/office/drawing/2014/main" id="{40732D72-1904-41BF-967A-052BF1D55673}"/>
                </a:ext>
              </a:extLst>
            </p:cNvPr>
            <p:cNvSpPr/>
            <p:nvPr userDrawn="1"/>
          </p:nvSpPr>
          <p:spPr bwMode="auto">
            <a:xfrm>
              <a:off x="7835042" y="2948746"/>
              <a:ext cx="248507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6" name="ïŝlîḋe">
              <a:extLst>
                <a:ext uri="{FF2B5EF4-FFF2-40B4-BE49-F238E27FC236}">
                  <a16:creationId xmlns:a16="http://schemas.microsoft.com/office/drawing/2014/main" id="{03A6DF9F-0C46-4097-893F-268FE8AC6CE9}"/>
                </a:ext>
              </a:extLst>
            </p:cNvPr>
            <p:cNvSpPr/>
            <p:nvPr userDrawn="1"/>
          </p:nvSpPr>
          <p:spPr bwMode="auto">
            <a:xfrm>
              <a:off x="7280430" y="3082051"/>
              <a:ext cx="199135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7" name="ïṣḷidè">
              <a:extLst>
                <a:ext uri="{FF2B5EF4-FFF2-40B4-BE49-F238E27FC236}">
                  <a16:creationId xmlns:a16="http://schemas.microsoft.com/office/drawing/2014/main" id="{8E5AE3FF-52EE-43D9-8424-2990E578D4D6}"/>
                </a:ext>
              </a:extLst>
            </p:cNvPr>
            <p:cNvSpPr/>
            <p:nvPr userDrawn="1"/>
          </p:nvSpPr>
          <p:spPr bwMode="auto">
            <a:xfrm>
              <a:off x="7548684" y="3082051"/>
              <a:ext cx="737290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8" name="íṧľîḓê">
              <a:extLst>
                <a:ext uri="{FF2B5EF4-FFF2-40B4-BE49-F238E27FC236}">
                  <a16:creationId xmlns:a16="http://schemas.microsoft.com/office/drawing/2014/main" id="{B7C6134D-3669-40C7-90EF-C583EF46ACA0}"/>
                </a:ext>
              </a:extLst>
            </p:cNvPr>
            <p:cNvSpPr/>
            <p:nvPr userDrawn="1"/>
          </p:nvSpPr>
          <p:spPr bwMode="auto">
            <a:xfrm>
              <a:off x="7777442" y="2815441"/>
              <a:ext cx="233695" cy="69121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9" name="ïšḷîḓe">
              <a:extLst>
                <a:ext uri="{FF2B5EF4-FFF2-40B4-BE49-F238E27FC236}">
                  <a16:creationId xmlns:a16="http://schemas.microsoft.com/office/drawing/2014/main" id="{EB0E05C4-9AAA-4268-AE57-D0A5C45F17E5}"/>
                </a:ext>
              </a:extLst>
            </p:cNvPr>
            <p:cNvSpPr/>
            <p:nvPr userDrawn="1"/>
          </p:nvSpPr>
          <p:spPr bwMode="auto">
            <a:xfrm>
              <a:off x="7280430" y="2185125"/>
              <a:ext cx="406497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0" name="îśliḍé">
              <a:extLst>
                <a:ext uri="{FF2B5EF4-FFF2-40B4-BE49-F238E27FC236}">
                  <a16:creationId xmlns:a16="http://schemas.microsoft.com/office/drawing/2014/main" id="{452F5EF2-338C-4F52-A8F8-A30DD2745932}"/>
                </a:ext>
              </a:extLst>
            </p:cNvPr>
            <p:cNvSpPr/>
            <p:nvPr userDrawn="1"/>
          </p:nvSpPr>
          <p:spPr bwMode="auto">
            <a:xfrm>
              <a:off x="7280430" y="2320075"/>
              <a:ext cx="501950" cy="67476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1" name="iṥ1iḍê">
              <a:extLst>
                <a:ext uri="{FF2B5EF4-FFF2-40B4-BE49-F238E27FC236}">
                  <a16:creationId xmlns:a16="http://schemas.microsoft.com/office/drawing/2014/main" id="{8EE38444-E3C8-4A2C-8CE9-D938B1A49990}"/>
                </a:ext>
              </a:extLst>
            </p:cNvPr>
            <p:cNvSpPr/>
            <p:nvPr userDrawn="1"/>
          </p:nvSpPr>
          <p:spPr bwMode="auto">
            <a:xfrm>
              <a:off x="7835042" y="2320075"/>
              <a:ext cx="248507" cy="67476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2" name="ïSlïḑe">
              <a:extLst>
                <a:ext uri="{FF2B5EF4-FFF2-40B4-BE49-F238E27FC236}">
                  <a16:creationId xmlns:a16="http://schemas.microsoft.com/office/drawing/2014/main" id="{B672D154-68A6-4442-AF47-A18575FB19D8}"/>
                </a:ext>
              </a:extLst>
            </p:cNvPr>
            <p:cNvSpPr/>
            <p:nvPr userDrawn="1"/>
          </p:nvSpPr>
          <p:spPr bwMode="auto">
            <a:xfrm>
              <a:off x="7280430" y="2453379"/>
              <a:ext cx="199135" cy="67476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3" name="ïśľîďe">
              <a:extLst>
                <a:ext uri="{FF2B5EF4-FFF2-40B4-BE49-F238E27FC236}">
                  <a16:creationId xmlns:a16="http://schemas.microsoft.com/office/drawing/2014/main" id="{ADAF3EE8-D7DE-489F-B071-21F62183CA87}"/>
                </a:ext>
              </a:extLst>
            </p:cNvPr>
            <p:cNvSpPr/>
            <p:nvPr userDrawn="1"/>
          </p:nvSpPr>
          <p:spPr bwMode="auto">
            <a:xfrm>
              <a:off x="7548684" y="2453379"/>
              <a:ext cx="737290" cy="67476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4" name="îṡľiďé">
              <a:extLst>
                <a:ext uri="{FF2B5EF4-FFF2-40B4-BE49-F238E27FC236}">
                  <a16:creationId xmlns:a16="http://schemas.microsoft.com/office/drawing/2014/main" id="{A52F0A3B-06FE-469A-8377-CC27084C8BED}"/>
                </a:ext>
              </a:extLst>
            </p:cNvPr>
            <p:cNvSpPr/>
            <p:nvPr userDrawn="1"/>
          </p:nvSpPr>
          <p:spPr bwMode="auto">
            <a:xfrm>
              <a:off x="7777442" y="2185125"/>
              <a:ext cx="233695" cy="69121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5" name="ís1iḋê">
              <a:extLst>
                <a:ext uri="{FF2B5EF4-FFF2-40B4-BE49-F238E27FC236}">
                  <a16:creationId xmlns:a16="http://schemas.microsoft.com/office/drawing/2014/main" id="{D57A5B1F-346A-4492-9CC0-4255B170E7E6}"/>
                </a:ext>
              </a:extLst>
            </p:cNvPr>
            <p:cNvSpPr/>
            <p:nvPr userDrawn="1"/>
          </p:nvSpPr>
          <p:spPr bwMode="auto">
            <a:xfrm>
              <a:off x="6890390" y="1816480"/>
              <a:ext cx="3054487" cy="1948552"/>
            </a:xfrm>
            <a:custGeom>
              <a:avLst/>
              <a:gdLst>
                <a:gd name="T0" fmla="*/ 745 w 799"/>
                <a:gd name="T1" fmla="*/ 511 h 511"/>
                <a:gd name="T2" fmla="*/ 54 w 799"/>
                <a:gd name="T3" fmla="*/ 511 h 511"/>
                <a:gd name="T4" fmla="*/ 0 w 799"/>
                <a:gd name="T5" fmla="*/ 458 h 511"/>
                <a:gd name="T6" fmla="*/ 0 w 799"/>
                <a:gd name="T7" fmla="*/ 54 h 511"/>
                <a:gd name="T8" fmla="*/ 54 w 799"/>
                <a:gd name="T9" fmla="*/ 0 h 511"/>
                <a:gd name="T10" fmla="*/ 745 w 799"/>
                <a:gd name="T11" fmla="*/ 0 h 511"/>
                <a:gd name="T12" fmla="*/ 799 w 799"/>
                <a:gd name="T13" fmla="*/ 54 h 511"/>
                <a:gd name="T14" fmla="*/ 799 w 799"/>
                <a:gd name="T15" fmla="*/ 458 h 511"/>
                <a:gd name="T16" fmla="*/ 745 w 799"/>
                <a:gd name="T17" fmla="*/ 511 h 511"/>
                <a:gd name="T18" fmla="*/ 54 w 799"/>
                <a:gd name="T19" fmla="*/ 32 h 511"/>
                <a:gd name="T20" fmla="*/ 33 w 799"/>
                <a:gd name="T21" fmla="*/ 54 h 511"/>
                <a:gd name="T22" fmla="*/ 33 w 799"/>
                <a:gd name="T23" fmla="*/ 386 h 511"/>
                <a:gd name="T24" fmla="*/ 54 w 799"/>
                <a:gd name="T25" fmla="*/ 408 h 511"/>
                <a:gd name="T26" fmla="*/ 745 w 799"/>
                <a:gd name="T27" fmla="*/ 408 h 511"/>
                <a:gd name="T28" fmla="*/ 767 w 799"/>
                <a:gd name="T29" fmla="*/ 386 h 511"/>
                <a:gd name="T30" fmla="*/ 767 w 799"/>
                <a:gd name="T31" fmla="*/ 54 h 511"/>
                <a:gd name="T32" fmla="*/ 745 w 799"/>
                <a:gd name="T33" fmla="*/ 32 h 511"/>
                <a:gd name="T34" fmla="*/ 54 w 799"/>
                <a:gd name="T35" fmla="*/ 32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99" h="511">
                  <a:moveTo>
                    <a:pt x="745" y="511"/>
                  </a:moveTo>
                  <a:cubicBezTo>
                    <a:pt x="54" y="511"/>
                    <a:pt x="54" y="511"/>
                    <a:pt x="54" y="511"/>
                  </a:cubicBezTo>
                  <a:cubicBezTo>
                    <a:pt x="25" y="511"/>
                    <a:pt x="0" y="487"/>
                    <a:pt x="0" y="4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24"/>
                    <a:pt x="25" y="0"/>
                    <a:pt x="54" y="0"/>
                  </a:cubicBezTo>
                  <a:cubicBezTo>
                    <a:pt x="745" y="0"/>
                    <a:pt x="745" y="0"/>
                    <a:pt x="745" y="0"/>
                  </a:cubicBezTo>
                  <a:cubicBezTo>
                    <a:pt x="775" y="0"/>
                    <a:pt x="799" y="24"/>
                    <a:pt x="799" y="54"/>
                  </a:cubicBezTo>
                  <a:cubicBezTo>
                    <a:pt x="799" y="458"/>
                    <a:pt x="799" y="458"/>
                    <a:pt x="799" y="458"/>
                  </a:cubicBezTo>
                  <a:cubicBezTo>
                    <a:pt x="799" y="487"/>
                    <a:pt x="775" y="511"/>
                    <a:pt x="745" y="511"/>
                  </a:cubicBezTo>
                  <a:moveTo>
                    <a:pt x="54" y="32"/>
                  </a:moveTo>
                  <a:cubicBezTo>
                    <a:pt x="42" y="32"/>
                    <a:pt x="33" y="42"/>
                    <a:pt x="33" y="54"/>
                  </a:cubicBezTo>
                  <a:cubicBezTo>
                    <a:pt x="33" y="386"/>
                    <a:pt x="33" y="386"/>
                    <a:pt x="33" y="386"/>
                  </a:cubicBezTo>
                  <a:cubicBezTo>
                    <a:pt x="33" y="398"/>
                    <a:pt x="42" y="408"/>
                    <a:pt x="54" y="408"/>
                  </a:cubicBezTo>
                  <a:cubicBezTo>
                    <a:pt x="745" y="408"/>
                    <a:pt x="745" y="408"/>
                    <a:pt x="745" y="408"/>
                  </a:cubicBezTo>
                  <a:cubicBezTo>
                    <a:pt x="757" y="408"/>
                    <a:pt x="767" y="398"/>
                    <a:pt x="767" y="386"/>
                  </a:cubicBezTo>
                  <a:cubicBezTo>
                    <a:pt x="767" y="54"/>
                    <a:pt x="767" y="54"/>
                    <a:pt x="767" y="54"/>
                  </a:cubicBezTo>
                  <a:cubicBezTo>
                    <a:pt x="767" y="42"/>
                    <a:pt x="757" y="32"/>
                    <a:pt x="745" y="32"/>
                  </a:cubicBezTo>
                  <a:cubicBezTo>
                    <a:pt x="54" y="32"/>
                    <a:pt x="54" y="32"/>
                    <a:pt x="54" y="32"/>
                  </a:cubicBezTo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7" name="iSľíḑé">
              <a:extLst>
                <a:ext uri="{FF2B5EF4-FFF2-40B4-BE49-F238E27FC236}">
                  <a16:creationId xmlns:a16="http://schemas.microsoft.com/office/drawing/2014/main" id="{38B1ACC9-D7E8-4AF2-B7EE-99DF6094FC5A}"/>
                </a:ext>
              </a:extLst>
            </p:cNvPr>
            <p:cNvSpPr/>
            <p:nvPr userDrawn="1"/>
          </p:nvSpPr>
          <p:spPr bwMode="auto">
            <a:xfrm>
              <a:off x="9424824" y="3142943"/>
              <a:ext cx="106973" cy="8229"/>
            </a:xfrm>
            <a:custGeom>
              <a:avLst/>
              <a:gdLst>
                <a:gd name="T0" fmla="*/ 14 w 28"/>
                <a:gd name="T1" fmla="*/ 0 h 2"/>
                <a:gd name="T2" fmla="*/ 0 w 28"/>
                <a:gd name="T3" fmla="*/ 2 h 2"/>
                <a:gd name="T4" fmla="*/ 28 w 28"/>
                <a:gd name="T5" fmla="*/ 2 h 2"/>
                <a:gd name="T6" fmla="*/ 14 w 28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2">
                  <a:moveTo>
                    <a:pt x="14" y="0"/>
                  </a:moveTo>
                  <a:cubicBezTo>
                    <a:pt x="9" y="0"/>
                    <a:pt x="4" y="1"/>
                    <a:pt x="0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4" y="1"/>
                    <a:pt x="19" y="0"/>
                    <a:pt x="14" y="0"/>
                  </a:cubicBezTo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8" name="îslîďè">
              <a:extLst>
                <a:ext uri="{FF2B5EF4-FFF2-40B4-BE49-F238E27FC236}">
                  <a16:creationId xmlns:a16="http://schemas.microsoft.com/office/drawing/2014/main" id="{DC52AEDF-331F-417B-91C2-5647FB3772C0}"/>
                </a:ext>
              </a:extLst>
            </p:cNvPr>
            <p:cNvSpPr/>
            <p:nvPr userDrawn="1"/>
          </p:nvSpPr>
          <p:spPr bwMode="auto">
            <a:xfrm>
              <a:off x="9268479" y="3371700"/>
              <a:ext cx="653358" cy="386749"/>
            </a:xfrm>
            <a:custGeom>
              <a:avLst/>
              <a:gdLst>
                <a:gd name="T0" fmla="*/ 110 w 171"/>
                <a:gd name="T1" fmla="*/ 0 h 101"/>
                <a:gd name="T2" fmla="*/ 73 w 171"/>
                <a:gd name="T3" fmla="*/ 0 h 101"/>
                <a:gd name="T4" fmla="*/ 70 w 171"/>
                <a:gd name="T5" fmla="*/ 9 h 101"/>
                <a:gd name="T6" fmla="*/ 44 w 171"/>
                <a:gd name="T7" fmla="*/ 18 h 101"/>
                <a:gd name="T8" fmla="*/ 24 w 171"/>
                <a:gd name="T9" fmla="*/ 0 h 101"/>
                <a:gd name="T10" fmla="*/ 0 w 171"/>
                <a:gd name="T11" fmla="*/ 0 h 101"/>
                <a:gd name="T12" fmla="*/ 18 w 171"/>
                <a:gd name="T13" fmla="*/ 35 h 101"/>
                <a:gd name="T14" fmla="*/ 55 w 171"/>
                <a:gd name="T15" fmla="*/ 50 h 101"/>
                <a:gd name="T16" fmla="*/ 71 w 171"/>
                <a:gd name="T17" fmla="*/ 47 h 101"/>
                <a:gd name="T18" fmla="*/ 78 w 171"/>
                <a:gd name="T19" fmla="*/ 45 h 101"/>
                <a:gd name="T20" fmla="*/ 138 w 171"/>
                <a:gd name="T21" fmla="*/ 101 h 101"/>
                <a:gd name="T22" fmla="*/ 171 w 171"/>
                <a:gd name="T23" fmla="*/ 74 h 101"/>
                <a:gd name="T24" fmla="*/ 107 w 171"/>
                <a:gd name="T25" fmla="*/ 14 h 101"/>
                <a:gd name="T26" fmla="*/ 108 w 171"/>
                <a:gd name="T27" fmla="*/ 7 h 101"/>
                <a:gd name="T28" fmla="*/ 110 w 171"/>
                <a:gd name="T2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1" h="101">
                  <a:moveTo>
                    <a:pt x="110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0" y="9"/>
                    <a:pt x="70" y="9"/>
                    <a:pt x="70" y="9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13"/>
                    <a:pt x="8" y="26"/>
                    <a:pt x="18" y="35"/>
                  </a:cubicBezTo>
                  <a:cubicBezTo>
                    <a:pt x="28" y="45"/>
                    <a:pt x="41" y="50"/>
                    <a:pt x="55" y="50"/>
                  </a:cubicBezTo>
                  <a:cubicBezTo>
                    <a:pt x="60" y="50"/>
                    <a:pt x="66" y="49"/>
                    <a:pt x="71" y="47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138" y="101"/>
                    <a:pt x="138" y="101"/>
                    <a:pt x="138" y="101"/>
                  </a:cubicBezTo>
                  <a:cubicBezTo>
                    <a:pt x="153" y="97"/>
                    <a:pt x="165" y="87"/>
                    <a:pt x="171" y="74"/>
                  </a:cubicBezTo>
                  <a:cubicBezTo>
                    <a:pt x="107" y="14"/>
                    <a:pt x="107" y="14"/>
                    <a:pt x="107" y="14"/>
                  </a:cubicBezTo>
                  <a:cubicBezTo>
                    <a:pt x="108" y="7"/>
                    <a:pt x="108" y="7"/>
                    <a:pt x="108" y="7"/>
                  </a:cubicBezTo>
                  <a:cubicBezTo>
                    <a:pt x="109" y="5"/>
                    <a:pt x="109" y="2"/>
                    <a:pt x="110" y="0"/>
                  </a:cubicBezTo>
                </a:path>
              </a:pathLst>
            </a:custGeom>
            <a:solidFill>
              <a:srgbClr val="6F6F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9" name="îSľiḑe">
              <a:extLst>
                <a:ext uri="{FF2B5EF4-FFF2-40B4-BE49-F238E27FC236}">
                  <a16:creationId xmlns:a16="http://schemas.microsoft.com/office/drawing/2014/main" id="{3F70D03F-0E09-490C-95E8-11A4013CB827}"/>
                </a:ext>
              </a:extLst>
            </p:cNvPr>
            <p:cNvSpPr/>
            <p:nvPr userDrawn="1"/>
          </p:nvSpPr>
          <p:spPr bwMode="auto">
            <a:xfrm>
              <a:off x="7017112" y="1906995"/>
              <a:ext cx="2805981" cy="115202"/>
            </a:xfrm>
            <a:custGeom>
              <a:avLst/>
              <a:gdLst>
                <a:gd name="T0" fmla="*/ 712 w 734"/>
                <a:gd name="T1" fmla="*/ 0 h 30"/>
                <a:gd name="T2" fmla="*/ 21 w 734"/>
                <a:gd name="T3" fmla="*/ 0 h 30"/>
                <a:gd name="T4" fmla="*/ 0 w 734"/>
                <a:gd name="T5" fmla="*/ 22 h 30"/>
                <a:gd name="T6" fmla="*/ 0 w 734"/>
                <a:gd name="T7" fmla="*/ 30 h 30"/>
                <a:gd name="T8" fmla="*/ 21 w 734"/>
                <a:gd name="T9" fmla="*/ 8 h 30"/>
                <a:gd name="T10" fmla="*/ 712 w 734"/>
                <a:gd name="T11" fmla="*/ 8 h 30"/>
                <a:gd name="T12" fmla="*/ 734 w 734"/>
                <a:gd name="T13" fmla="*/ 30 h 30"/>
                <a:gd name="T14" fmla="*/ 734 w 734"/>
                <a:gd name="T15" fmla="*/ 22 h 30"/>
                <a:gd name="T16" fmla="*/ 712 w 734"/>
                <a:gd name="T1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4" h="30">
                  <a:moveTo>
                    <a:pt x="712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9" y="0"/>
                    <a:pt x="0" y="10"/>
                    <a:pt x="0" y="22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8"/>
                    <a:pt x="9" y="8"/>
                    <a:pt x="21" y="8"/>
                  </a:cubicBezTo>
                  <a:cubicBezTo>
                    <a:pt x="712" y="8"/>
                    <a:pt x="712" y="8"/>
                    <a:pt x="712" y="8"/>
                  </a:cubicBezTo>
                  <a:cubicBezTo>
                    <a:pt x="724" y="8"/>
                    <a:pt x="734" y="18"/>
                    <a:pt x="734" y="30"/>
                  </a:cubicBezTo>
                  <a:cubicBezTo>
                    <a:pt x="734" y="22"/>
                    <a:pt x="734" y="22"/>
                    <a:pt x="734" y="22"/>
                  </a:cubicBezTo>
                  <a:cubicBezTo>
                    <a:pt x="734" y="10"/>
                    <a:pt x="724" y="0"/>
                    <a:pt x="712" y="0"/>
                  </a:cubicBez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0" name="íSļíḓè">
              <a:extLst>
                <a:ext uri="{FF2B5EF4-FFF2-40B4-BE49-F238E27FC236}">
                  <a16:creationId xmlns:a16="http://schemas.microsoft.com/office/drawing/2014/main" id="{47E22736-BFE4-440D-975A-C20257A3F918}"/>
                </a:ext>
              </a:extLst>
            </p:cNvPr>
            <p:cNvSpPr/>
            <p:nvPr userDrawn="1"/>
          </p:nvSpPr>
          <p:spPr bwMode="auto">
            <a:xfrm>
              <a:off x="6890390" y="3532982"/>
              <a:ext cx="3054487" cy="232049"/>
            </a:xfrm>
            <a:custGeom>
              <a:avLst/>
              <a:gdLst>
                <a:gd name="T0" fmla="*/ 745 w 799"/>
                <a:gd name="T1" fmla="*/ 54 h 61"/>
                <a:gd name="T2" fmla="*/ 54 w 799"/>
                <a:gd name="T3" fmla="*/ 54 h 61"/>
                <a:gd name="T4" fmla="*/ 0 w 799"/>
                <a:gd name="T5" fmla="*/ 0 h 61"/>
                <a:gd name="T6" fmla="*/ 0 w 799"/>
                <a:gd name="T7" fmla="*/ 8 h 61"/>
                <a:gd name="T8" fmla="*/ 54 w 799"/>
                <a:gd name="T9" fmla="*/ 61 h 61"/>
                <a:gd name="T10" fmla="*/ 745 w 799"/>
                <a:gd name="T11" fmla="*/ 61 h 61"/>
                <a:gd name="T12" fmla="*/ 799 w 799"/>
                <a:gd name="T13" fmla="*/ 8 h 61"/>
                <a:gd name="T14" fmla="*/ 799 w 799"/>
                <a:gd name="T15" fmla="*/ 0 h 61"/>
                <a:gd name="T16" fmla="*/ 745 w 799"/>
                <a:gd name="T17" fmla="*/ 54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9" h="61">
                  <a:moveTo>
                    <a:pt x="745" y="54"/>
                  </a:moveTo>
                  <a:cubicBezTo>
                    <a:pt x="54" y="54"/>
                    <a:pt x="54" y="54"/>
                    <a:pt x="54" y="54"/>
                  </a:cubicBezTo>
                  <a:cubicBezTo>
                    <a:pt x="25" y="54"/>
                    <a:pt x="0" y="29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7"/>
                    <a:pt x="25" y="61"/>
                    <a:pt x="54" y="61"/>
                  </a:cubicBezTo>
                  <a:cubicBezTo>
                    <a:pt x="745" y="61"/>
                    <a:pt x="745" y="61"/>
                    <a:pt x="745" y="61"/>
                  </a:cubicBezTo>
                  <a:cubicBezTo>
                    <a:pt x="775" y="61"/>
                    <a:pt x="799" y="37"/>
                    <a:pt x="799" y="8"/>
                  </a:cubicBezTo>
                  <a:cubicBezTo>
                    <a:pt x="799" y="0"/>
                    <a:pt x="799" y="0"/>
                    <a:pt x="799" y="0"/>
                  </a:cubicBezTo>
                  <a:cubicBezTo>
                    <a:pt x="799" y="29"/>
                    <a:pt x="775" y="54"/>
                    <a:pt x="745" y="54"/>
                  </a:cubicBez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1" name="ïṧḻídé">
              <a:extLst>
                <a:ext uri="{FF2B5EF4-FFF2-40B4-BE49-F238E27FC236}">
                  <a16:creationId xmlns:a16="http://schemas.microsoft.com/office/drawing/2014/main" id="{1E2D50C2-413C-4015-B222-2A29038F76B0}"/>
                </a:ext>
              </a:extLst>
            </p:cNvPr>
            <p:cNvSpPr/>
            <p:nvPr userDrawn="1"/>
          </p:nvSpPr>
          <p:spPr bwMode="auto">
            <a:xfrm>
              <a:off x="9627250" y="1976116"/>
              <a:ext cx="62538" cy="60893"/>
            </a:xfrm>
            <a:prstGeom prst="ellipse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2" name="iṧlïḋê">
              <a:extLst>
                <a:ext uri="{FF2B5EF4-FFF2-40B4-BE49-F238E27FC236}">
                  <a16:creationId xmlns:a16="http://schemas.microsoft.com/office/drawing/2014/main" id="{4C7A2F1F-B975-468D-93B1-704F7B7AEDA6}"/>
                </a:ext>
              </a:extLst>
            </p:cNvPr>
            <p:cNvSpPr/>
            <p:nvPr userDrawn="1"/>
          </p:nvSpPr>
          <p:spPr bwMode="auto">
            <a:xfrm>
              <a:off x="9520276" y="1976116"/>
              <a:ext cx="62538" cy="60893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3" name="ïSḷîḍê">
              <a:extLst>
                <a:ext uri="{FF2B5EF4-FFF2-40B4-BE49-F238E27FC236}">
                  <a16:creationId xmlns:a16="http://schemas.microsoft.com/office/drawing/2014/main" id="{7C0A5E28-BECA-42F0-ABAA-726549D61AFD}"/>
                </a:ext>
              </a:extLst>
            </p:cNvPr>
            <p:cNvSpPr/>
            <p:nvPr userDrawn="1"/>
          </p:nvSpPr>
          <p:spPr bwMode="auto">
            <a:xfrm>
              <a:off x="9413304" y="1976116"/>
              <a:ext cx="62538" cy="60893"/>
            </a:xfrm>
            <a:prstGeom prst="ellipse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4" name="íşlîḍe">
              <a:extLst>
                <a:ext uri="{FF2B5EF4-FFF2-40B4-BE49-F238E27FC236}">
                  <a16:creationId xmlns:a16="http://schemas.microsoft.com/office/drawing/2014/main" id="{1A89977D-8D6E-419C-B458-1008D447951A}"/>
                </a:ext>
              </a:extLst>
            </p:cNvPr>
            <p:cNvSpPr/>
            <p:nvPr userDrawn="1"/>
          </p:nvSpPr>
          <p:spPr bwMode="auto">
            <a:xfrm>
              <a:off x="6696193" y="2598204"/>
              <a:ext cx="768559" cy="1594719"/>
            </a:xfrm>
            <a:custGeom>
              <a:avLst/>
              <a:gdLst>
                <a:gd name="T0" fmla="*/ 65 w 467"/>
                <a:gd name="T1" fmla="*/ 969 h 969"/>
                <a:gd name="T2" fmla="*/ 467 w 467"/>
                <a:gd name="T3" fmla="*/ 23 h 969"/>
                <a:gd name="T4" fmla="*/ 413 w 467"/>
                <a:gd name="T5" fmla="*/ 0 h 969"/>
                <a:gd name="T6" fmla="*/ 0 w 467"/>
                <a:gd name="T7" fmla="*/ 969 h 969"/>
                <a:gd name="T8" fmla="*/ 65 w 467"/>
                <a:gd name="T9" fmla="*/ 969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7" h="969">
                  <a:moveTo>
                    <a:pt x="65" y="969"/>
                  </a:moveTo>
                  <a:lnTo>
                    <a:pt x="467" y="23"/>
                  </a:lnTo>
                  <a:lnTo>
                    <a:pt x="413" y="0"/>
                  </a:lnTo>
                  <a:lnTo>
                    <a:pt x="0" y="969"/>
                  </a:lnTo>
                  <a:lnTo>
                    <a:pt x="65" y="969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5" name="îṧliḓe">
              <a:extLst>
                <a:ext uri="{FF2B5EF4-FFF2-40B4-BE49-F238E27FC236}">
                  <a16:creationId xmlns:a16="http://schemas.microsoft.com/office/drawing/2014/main" id="{854CA286-7FF2-442C-8399-AC07CD799772}"/>
                </a:ext>
              </a:extLst>
            </p:cNvPr>
            <p:cNvSpPr/>
            <p:nvPr userDrawn="1"/>
          </p:nvSpPr>
          <p:spPr bwMode="auto">
            <a:xfrm>
              <a:off x="6806458" y="2876334"/>
              <a:ext cx="473972" cy="98744"/>
            </a:xfrm>
            <a:custGeom>
              <a:avLst/>
              <a:gdLst>
                <a:gd name="T0" fmla="*/ 0 w 124"/>
                <a:gd name="T1" fmla="*/ 13 h 26"/>
                <a:gd name="T2" fmla="*/ 0 w 124"/>
                <a:gd name="T3" fmla="*/ 13 h 26"/>
                <a:gd name="T4" fmla="*/ 13 w 124"/>
                <a:gd name="T5" fmla="*/ 0 h 26"/>
                <a:gd name="T6" fmla="*/ 124 w 124"/>
                <a:gd name="T7" fmla="*/ 0 h 26"/>
                <a:gd name="T8" fmla="*/ 124 w 124"/>
                <a:gd name="T9" fmla="*/ 26 h 26"/>
                <a:gd name="T10" fmla="*/ 13 w 124"/>
                <a:gd name="T11" fmla="*/ 26 h 26"/>
                <a:gd name="T12" fmla="*/ 0 w 124"/>
                <a:gd name="T13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26">
                  <a:moveTo>
                    <a:pt x="0" y="13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26"/>
                    <a:pt x="124" y="26"/>
                    <a:pt x="12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6" y="26"/>
                    <a:pt x="0" y="20"/>
                    <a:pt x="0" y="13"/>
                  </a:cubicBez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6" name="ïšľïḍê">
              <a:extLst>
                <a:ext uri="{FF2B5EF4-FFF2-40B4-BE49-F238E27FC236}">
                  <a16:creationId xmlns:a16="http://schemas.microsoft.com/office/drawing/2014/main" id="{FA9B1DE8-7D4C-47AB-BD10-9F427F3643EB}"/>
                </a:ext>
              </a:extLst>
            </p:cNvPr>
            <p:cNvSpPr/>
            <p:nvPr userDrawn="1"/>
          </p:nvSpPr>
          <p:spPr bwMode="auto">
            <a:xfrm>
              <a:off x="6676444" y="3226875"/>
              <a:ext cx="470681" cy="100390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7" name="ïṡ1îḍe">
              <a:extLst>
                <a:ext uri="{FF2B5EF4-FFF2-40B4-BE49-F238E27FC236}">
                  <a16:creationId xmlns:a16="http://schemas.microsoft.com/office/drawing/2014/main" id="{2093210A-1156-45DB-BB4C-0DCE7AD0D875}"/>
                </a:ext>
              </a:extLst>
            </p:cNvPr>
            <p:cNvSpPr/>
            <p:nvPr userDrawn="1"/>
          </p:nvSpPr>
          <p:spPr bwMode="auto">
            <a:xfrm>
              <a:off x="6523391" y="3579063"/>
              <a:ext cx="482201" cy="98744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8" name="iṧḷídè">
              <a:extLst>
                <a:ext uri="{FF2B5EF4-FFF2-40B4-BE49-F238E27FC236}">
                  <a16:creationId xmlns:a16="http://schemas.microsoft.com/office/drawing/2014/main" id="{85B7D714-828A-4436-9722-8E585221469D}"/>
                </a:ext>
              </a:extLst>
            </p:cNvPr>
            <p:cNvSpPr/>
            <p:nvPr userDrawn="1"/>
          </p:nvSpPr>
          <p:spPr bwMode="auto">
            <a:xfrm>
              <a:off x="6383503" y="3929605"/>
              <a:ext cx="465744" cy="98744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9" name="íṥļïďê">
              <a:extLst>
                <a:ext uri="{FF2B5EF4-FFF2-40B4-BE49-F238E27FC236}">
                  <a16:creationId xmlns:a16="http://schemas.microsoft.com/office/drawing/2014/main" id="{87784FA9-5DAB-4CEA-92C6-1DFE9C3657A7}"/>
                </a:ext>
              </a:extLst>
            </p:cNvPr>
            <p:cNvSpPr/>
            <p:nvPr userDrawn="1"/>
          </p:nvSpPr>
          <p:spPr bwMode="auto">
            <a:xfrm>
              <a:off x="9329371" y="2991536"/>
              <a:ext cx="952882" cy="1212908"/>
            </a:xfrm>
            <a:custGeom>
              <a:avLst/>
              <a:gdLst>
                <a:gd name="T0" fmla="*/ 242 w 249"/>
                <a:gd name="T1" fmla="*/ 282 h 318"/>
                <a:gd name="T2" fmla="*/ 104 w 249"/>
                <a:gd name="T3" fmla="*/ 86 h 318"/>
                <a:gd name="T4" fmla="*/ 107 w 249"/>
                <a:gd name="T5" fmla="*/ 79 h 318"/>
                <a:gd name="T6" fmla="*/ 102 w 249"/>
                <a:gd name="T7" fmla="*/ 25 h 318"/>
                <a:gd name="T8" fmla="*/ 53 w 249"/>
                <a:gd name="T9" fmla="*/ 2 h 318"/>
                <a:gd name="T10" fmla="*/ 49 w 249"/>
                <a:gd name="T11" fmla="*/ 2 h 318"/>
                <a:gd name="T12" fmla="*/ 81 w 249"/>
                <a:gd name="T13" fmla="*/ 48 h 318"/>
                <a:gd name="T14" fmla="*/ 70 w 249"/>
                <a:gd name="T15" fmla="*/ 73 h 318"/>
                <a:gd name="T16" fmla="*/ 42 w 249"/>
                <a:gd name="T17" fmla="*/ 76 h 318"/>
                <a:gd name="T18" fmla="*/ 9 w 249"/>
                <a:gd name="T19" fmla="*/ 30 h 318"/>
                <a:gd name="T20" fmla="*/ 8 w 249"/>
                <a:gd name="T21" fmla="*/ 33 h 318"/>
                <a:gd name="T22" fmla="*/ 13 w 249"/>
                <a:gd name="T23" fmla="*/ 88 h 318"/>
                <a:gd name="T24" fmla="*/ 62 w 249"/>
                <a:gd name="T25" fmla="*/ 111 h 318"/>
                <a:gd name="T26" fmla="*/ 69 w 249"/>
                <a:gd name="T27" fmla="*/ 110 h 318"/>
                <a:gd name="T28" fmla="*/ 208 w 249"/>
                <a:gd name="T29" fmla="*/ 306 h 318"/>
                <a:gd name="T30" fmla="*/ 237 w 249"/>
                <a:gd name="T31" fmla="*/ 311 h 318"/>
                <a:gd name="T32" fmla="*/ 242 w 249"/>
                <a:gd name="T33" fmla="*/ 282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9" h="318">
                  <a:moveTo>
                    <a:pt x="242" y="282"/>
                  </a:moveTo>
                  <a:cubicBezTo>
                    <a:pt x="104" y="86"/>
                    <a:pt x="104" y="86"/>
                    <a:pt x="104" y="86"/>
                  </a:cubicBezTo>
                  <a:cubicBezTo>
                    <a:pt x="107" y="79"/>
                    <a:pt x="107" y="79"/>
                    <a:pt x="107" y="79"/>
                  </a:cubicBezTo>
                  <a:cubicBezTo>
                    <a:pt x="115" y="61"/>
                    <a:pt x="113" y="41"/>
                    <a:pt x="102" y="25"/>
                  </a:cubicBezTo>
                  <a:cubicBezTo>
                    <a:pt x="91" y="9"/>
                    <a:pt x="72" y="0"/>
                    <a:pt x="53" y="2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81" y="48"/>
                    <a:pt x="81" y="48"/>
                    <a:pt x="81" y="48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42" y="76"/>
                    <a:pt x="42" y="76"/>
                    <a:pt x="42" y="76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0" y="51"/>
                    <a:pt x="1" y="72"/>
                    <a:pt x="13" y="88"/>
                  </a:cubicBezTo>
                  <a:cubicBezTo>
                    <a:pt x="24" y="104"/>
                    <a:pt x="43" y="113"/>
                    <a:pt x="62" y="111"/>
                  </a:cubicBezTo>
                  <a:cubicBezTo>
                    <a:pt x="69" y="110"/>
                    <a:pt x="69" y="110"/>
                    <a:pt x="69" y="110"/>
                  </a:cubicBezTo>
                  <a:cubicBezTo>
                    <a:pt x="208" y="306"/>
                    <a:pt x="208" y="306"/>
                    <a:pt x="208" y="306"/>
                  </a:cubicBezTo>
                  <a:cubicBezTo>
                    <a:pt x="214" y="316"/>
                    <a:pt x="228" y="318"/>
                    <a:pt x="237" y="311"/>
                  </a:cubicBezTo>
                  <a:cubicBezTo>
                    <a:pt x="247" y="305"/>
                    <a:pt x="249" y="291"/>
                    <a:pt x="242" y="282"/>
                  </a:cubicBezTo>
                  <a:close/>
                </a:path>
              </a:pathLst>
            </a:custGeom>
            <a:solidFill>
              <a:srgbClr val="ADAD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0" name="iṡlîḑe">
              <a:extLst>
                <a:ext uri="{FF2B5EF4-FFF2-40B4-BE49-F238E27FC236}">
                  <a16:creationId xmlns:a16="http://schemas.microsoft.com/office/drawing/2014/main" id="{A1169987-8B8D-4BC8-92F5-645725EAC551}"/>
                </a:ext>
              </a:extLst>
            </p:cNvPr>
            <p:cNvSpPr/>
            <p:nvPr userDrawn="1"/>
          </p:nvSpPr>
          <p:spPr bwMode="auto">
            <a:xfrm>
              <a:off x="9666748" y="3391449"/>
              <a:ext cx="534865" cy="717541"/>
            </a:xfrm>
            <a:custGeom>
              <a:avLst/>
              <a:gdLst>
                <a:gd name="T0" fmla="*/ 134 w 140"/>
                <a:gd name="T1" fmla="*/ 184 h 188"/>
                <a:gd name="T2" fmla="*/ 134 w 140"/>
                <a:gd name="T3" fmla="*/ 184 h 188"/>
                <a:gd name="T4" fmla="*/ 119 w 140"/>
                <a:gd name="T5" fmla="*/ 182 h 188"/>
                <a:gd name="T6" fmla="*/ 3 w 140"/>
                <a:gd name="T7" fmla="*/ 18 h 188"/>
                <a:gd name="T8" fmla="*/ 6 w 140"/>
                <a:gd name="T9" fmla="*/ 3 h 188"/>
                <a:gd name="T10" fmla="*/ 20 w 140"/>
                <a:gd name="T11" fmla="*/ 5 h 188"/>
                <a:gd name="T12" fmla="*/ 136 w 140"/>
                <a:gd name="T13" fmla="*/ 170 h 188"/>
                <a:gd name="T14" fmla="*/ 134 w 140"/>
                <a:gd name="T15" fmla="*/ 184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0" h="188">
                  <a:moveTo>
                    <a:pt x="134" y="184"/>
                  </a:moveTo>
                  <a:cubicBezTo>
                    <a:pt x="134" y="184"/>
                    <a:pt x="134" y="184"/>
                    <a:pt x="134" y="184"/>
                  </a:cubicBezTo>
                  <a:cubicBezTo>
                    <a:pt x="129" y="188"/>
                    <a:pt x="122" y="187"/>
                    <a:pt x="119" y="182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0" y="13"/>
                    <a:pt x="1" y="6"/>
                    <a:pt x="6" y="3"/>
                  </a:cubicBezTo>
                  <a:cubicBezTo>
                    <a:pt x="11" y="0"/>
                    <a:pt x="17" y="1"/>
                    <a:pt x="20" y="5"/>
                  </a:cubicBezTo>
                  <a:cubicBezTo>
                    <a:pt x="136" y="170"/>
                    <a:pt x="136" y="170"/>
                    <a:pt x="136" y="170"/>
                  </a:cubicBezTo>
                  <a:cubicBezTo>
                    <a:pt x="140" y="175"/>
                    <a:pt x="138" y="181"/>
                    <a:pt x="134" y="184"/>
                  </a:cubicBezTo>
                  <a:close/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3" name="îšļiḍé">
              <a:extLst>
                <a:ext uri="{FF2B5EF4-FFF2-40B4-BE49-F238E27FC236}">
                  <a16:creationId xmlns:a16="http://schemas.microsoft.com/office/drawing/2014/main" id="{E94F843E-1931-4CF4-A07C-516069F6EB04}"/>
                </a:ext>
              </a:extLst>
            </p:cNvPr>
            <p:cNvSpPr/>
            <p:nvPr userDrawn="1"/>
          </p:nvSpPr>
          <p:spPr bwMode="auto">
            <a:xfrm>
              <a:off x="8401176" y="4421680"/>
              <a:ext cx="783371" cy="1267217"/>
            </a:xfrm>
            <a:custGeom>
              <a:avLst/>
              <a:gdLst>
                <a:gd name="T0" fmla="*/ 0 w 205"/>
                <a:gd name="T1" fmla="*/ 0 h 332"/>
                <a:gd name="T2" fmla="*/ 126 w 205"/>
                <a:gd name="T3" fmla="*/ 0 h 332"/>
                <a:gd name="T4" fmla="*/ 133 w 205"/>
                <a:gd name="T5" fmla="*/ 1 h 332"/>
                <a:gd name="T6" fmla="*/ 195 w 205"/>
                <a:gd name="T7" fmla="*/ 90 h 332"/>
                <a:gd name="T8" fmla="*/ 143 w 205"/>
                <a:gd name="T9" fmla="*/ 332 h 332"/>
                <a:gd name="T10" fmla="*/ 68 w 205"/>
                <a:gd name="T11" fmla="*/ 332 h 332"/>
                <a:gd name="T12" fmla="*/ 104 w 205"/>
                <a:gd name="T13" fmla="*/ 102 h 332"/>
                <a:gd name="T14" fmla="*/ 0 w 205"/>
                <a:gd name="T15" fmla="*/ 102 h 332"/>
                <a:gd name="T16" fmla="*/ 0 w 205"/>
                <a:gd name="T17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5" h="332">
                  <a:moveTo>
                    <a:pt x="0" y="0"/>
                  </a:moveTo>
                  <a:cubicBezTo>
                    <a:pt x="126" y="0"/>
                    <a:pt x="126" y="0"/>
                    <a:pt x="126" y="0"/>
                  </a:cubicBezTo>
                  <a:cubicBezTo>
                    <a:pt x="128" y="0"/>
                    <a:pt x="131" y="0"/>
                    <a:pt x="133" y="1"/>
                  </a:cubicBezTo>
                  <a:cubicBezTo>
                    <a:pt x="176" y="5"/>
                    <a:pt x="205" y="48"/>
                    <a:pt x="195" y="90"/>
                  </a:cubicBezTo>
                  <a:cubicBezTo>
                    <a:pt x="143" y="332"/>
                    <a:pt x="143" y="332"/>
                    <a:pt x="143" y="332"/>
                  </a:cubicBezTo>
                  <a:cubicBezTo>
                    <a:pt x="68" y="332"/>
                    <a:pt x="68" y="332"/>
                    <a:pt x="68" y="332"/>
                  </a:cubicBezTo>
                  <a:cubicBezTo>
                    <a:pt x="104" y="102"/>
                    <a:pt x="104" y="102"/>
                    <a:pt x="104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4" name="í$ḷïḑe">
              <a:extLst>
                <a:ext uri="{FF2B5EF4-FFF2-40B4-BE49-F238E27FC236}">
                  <a16:creationId xmlns:a16="http://schemas.microsoft.com/office/drawing/2014/main" id="{C29BEDA5-B06B-4D27-B037-F5AED5D1574B}"/>
                </a:ext>
              </a:extLst>
            </p:cNvPr>
            <p:cNvSpPr/>
            <p:nvPr userDrawn="1"/>
          </p:nvSpPr>
          <p:spPr bwMode="auto">
            <a:xfrm>
              <a:off x="8661202" y="5688897"/>
              <a:ext cx="492076" cy="190905"/>
            </a:xfrm>
            <a:custGeom>
              <a:avLst/>
              <a:gdLst>
                <a:gd name="T0" fmla="*/ 0 w 129"/>
                <a:gd name="T1" fmla="*/ 0 h 50"/>
                <a:gd name="T2" fmla="*/ 62 w 129"/>
                <a:gd name="T3" fmla="*/ 0 h 50"/>
                <a:gd name="T4" fmla="*/ 129 w 129"/>
                <a:gd name="T5" fmla="*/ 50 h 50"/>
                <a:gd name="T6" fmla="*/ 0 w 129"/>
                <a:gd name="T7" fmla="*/ 50 h 50"/>
                <a:gd name="T8" fmla="*/ 0 w 129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50">
                  <a:moveTo>
                    <a:pt x="0" y="0"/>
                  </a:moveTo>
                  <a:cubicBezTo>
                    <a:pt x="62" y="0"/>
                    <a:pt x="62" y="0"/>
                    <a:pt x="62" y="0"/>
                  </a:cubicBezTo>
                  <a:cubicBezTo>
                    <a:pt x="62" y="0"/>
                    <a:pt x="129" y="6"/>
                    <a:pt x="129" y="50"/>
                  </a:cubicBezTo>
                  <a:cubicBezTo>
                    <a:pt x="0" y="50"/>
                    <a:pt x="0" y="50"/>
                    <a:pt x="0" y="5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331D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5" name="ís1îḓe">
              <a:extLst>
                <a:ext uri="{FF2B5EF4-FFF2-40B4-BE49-F238E27FC236}">
                  <a16:creationId xmlns:a16="http://schemas.microsoft.com/office/drawing/2014/main" id="{3082BE92-7275-4477-8E76-3714C3FF5443}"/>
                </a:ext>
              </a:extLst>
            </p:cNvPr>
            <p:cNvSpPr/>
            <p:nvPr userDrawn="1"/>
          </p:nvSpPr>
          <p:spPr bwMode="auto">
            <a:xfrm>
              <a:off x="7644137" y="4421680"/>
              <a:ext cx="783371" cy="1267217"/>
            </a:xfrm>
            <a:custGeom>
              <a:avLst/>
              <a:gdLst>
                <a:gd name="T0" fmla="*/ 205 w 205"/>
                <a:gd name="T1" fmla="*/ 0 h 332"/>
                <a:gd name="T2" fmla="*/ 78 w 205"/>
                <a:gd name="T3" fmla="*/ 0 h 332"/>
                <a:gd name="T4" fmla="*/ 71 w 205"/>
                <a:gd name="T5" fmla="*/ 1 h 332"/>
                <a:gd name="T6" fmla="*/ 10 w 205"/>
                <a:gd name="T7" fmla="*/ 90 h 332"/>
                <a:gd name="T8" fmla="*/ 62 w 205"/>
                <a:gd name="T9" fmla="*/ 332 h 332"/>
                <a:gd name="T10" fmla="*/ 136 w 205"/>
                <a:gd name="T11" fmla="*/ 332 h 332"/>
                <a:gd name="T12" fmla="*/ 100 w 205"/>
                <a:gd name="T13" fmla="*/ 102 h 332"/>
                <a:gd name="T14" fmla="*/ 205 w 205"/>
                <a:gd name="T15" fmla="*/ 102 h 332"/>
                <a:gd name="T16" fmla="*/ 205 w 205"/>
                <a:gd name="T17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5" h="332">
                  <a:moveTo>
                    <a:pt x="205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76" y="0"/>
                    <a:pt x="74" y="0"/>
                    <a:pt x="71" y="1"/>
                  </a:cubicBezTo>
                  <a:cubicBezTo>
                    <a:pt x="28" y="5"/>
                    <a:pt x="0" y="48"/>
                    <a:pt x="10" y="90"/>
                  </a:cubicBezTo>
                  <a:cubicBezTo>
                    <a:pt x="62" y="332"/>
                    <a:pt x="62" y="332"/>
                    <a:pt x="62" y="332"/>
                  </a:cubicBezTo>
                  <a:cubicBezTo>
                    <a:pt x="136" y="332"/>
                    <a:pt x="136" y="332"/>
                    <a:pt x="136" y="332"/>
                  </a:cubicBezTo>
                  <a:cubicBezTo>
                    <a:pt x="100" y="102"/>
                    <a:pt x="100" y="102"/>
                    <a:pt x="100" y="102"/>
                  </a:cubicBezTo>
                  <a:cubicBezTo>
                    <a:pt x="205" y="102"/>
                    <a:pt x="205" y="102"/>
                    <a:pt x="205" y="102"/>
                  </a:cubicBezTo>
                  <a:cubicBezTo>
                    <a:pt x="205" y="0"/>
                    <a:pt x="205" y="0"/>
                    <a:pt x="205" y="0"/>
                  </a:cubicBezTo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8" name="ïṥļîdê">
              <a:extLst>
                <a:ext uri="{FF2B5EF4-FFF2-40B4-BE49-F238E27FC236}">
                  <a16:creationId xmlns:a16="http://schemas.microsoft.com/office/drawing/2014/main" id="{6509C9E9-F0A5-41D8-A60B-B1D7CCE406EF}"/>
                </a:ext>
              </a:extLst>
            </p:cNvPr>
            <p:cNvSpPr/>
            <p:nvPr userDrawn="1"/>
          </p:nvSpPr>
          <p:spPr bwMode="auto">
            <a:xfrm>
              <a:off x="7935433" y="2711760"/>
              <a:ext cx="197488" cy="294587"/>
            </a:xfrm>
            <a:custGeom>
              <a:avLst/>
              <a:gdLst>
                <a:gd name="T0" fmla="*/ 52 w 52"/>
                <a:gd name="T1" fmla="*/ 25 h 77"/>
                <a:gd name="T2" fmla="*/ 18 w 52"/>
                <a:gd name="T3" fmla="*/ 14 h 77"/>
                <a:gd name="T4" fmla="*/ 52 w 52"/>
                <a:gd name="T5" fmla="*/ 69 h 77"/>
                <a:gd name="T6" fmla="*/ 52 w 52"/>
                <a:gd name="T7" fmla="*/ 2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77">
                  <a:moveTo>
                    <a:pt x="52" y="25"/>
                  </a:moveTo>
                  <a:cubicBezTo>
                    <a:pt x="52" y="25"/>
                    <a:pt x="36" y="0"/>
                    <a:pt x="18" y="14"/>
                  </a:cubicBezTo>
                  <a:cubicBezTo>
                    <a:pt x="0" y="27"/>
                    <a:pt x="19" y="77"/>
                    <a:pt x="52" y="69"/>
                  </a:cubicBezTo>
                  <a:lnTo>
                    <a:pt x="52" y="25"/>
                  </a:ln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9" name="isḻîḋè">
              <a:extLst>
                <a:ext uri="{FF2B5EF4-FFF2-40B4-BE49-F238E27FC236}">
                  <a16:creationId xmlns:a16="http://schemas.microsoft.com/office/drawing/2014/main" id="{BCAD022A-2BB4-472F-A840-23B522639385}"/>
                </a:ext>
              </a:extLst>
            </p:cNvPr>
            <p:cNvSpPr/>
            <p:nvPr userDrawn="1"/>
          </p:nvSpPr>
          <p:spPr bwMode="auto">
            <a:xfrm>
              <a:off x="7979867" y="2784173"/>
              <a:ext cx="153054" cy="184322"/>
            </a:xfrm>
            <a:custGeom>
              <a:avLst/>
              <a:gdLst>
                <a:gd name="T0" fmla="*/ 40 w 40"/>
                <a:gd name="T1" fmla="*/ 23 h 48"/>
                <a:gd name="T2" fmla="*/ 40 w 40"/>
                <a:gd name="T3" fmla="*/ 45 h 48"/>
                <a:gd name="T4" fmla="*/ 13 w 40"/>
                <a:gd name="T5" fmla="*/ 3 h 48"/>
                <a:gd name="T6" fmla="*/ 40 w 40"/>
                <a:gd name="T7" fmla="*/ 2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48">
                  <a:moveTo>
                    <a:pt x="40" y="23"/>
                  </a:moveTo>
                  <a:cubicBezTo>
                    <a:pt x="40" y="45"/>
                    <a:pt x="40" y="45"/>
                    <a:pt x="40" y="45"/>
                  </a:cubicBezTo>
                  <a:cubicBezTo>
                    <a:pt x="12" y="48"/>
                    <a:pt x="0" y="8"/>
                    <a:pt x="13" y="3"/>
                  </a:cubicBezTo>
                  <a:cubicBezTo>
                    <a:pt x="24" y="0"/>
                    <a:pt x="35" y="15"/>
                    <a:pt x="40" y="23"/>
                  </a:cubicBezTo>
                  <a:close/>
                </a:path>
              </a:pathLst>
            </a:custGeom>
            <a:solidFill>
              <a:srgbClr val="F7A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0" name="íṥľïḓê">
              <a:extLst>
                <a:ext uri="{FF2B5EF4-FFF2-40B4-BE49-F238E27FC236}">
                  <a16:creationId xmlns:a16="http://schemas.microsoft.com/office/drawing/2014/main" id="{84E11F03-65D2-472A-B806-EC31231E8560}"/>
                </a:ext>
              </a:extLst>
            </p:cNvPr>
            <p:cNvSpPr/>
            <p:nvPr userDrawn="1"/>
          </p:nvSpPr>
          <p:spPr bwMode="auto">
            <a:xfrm>
              <a:off x="8011137" y="2789109"/>
              <a:ext cx="121784" cy="83933"/>
            </a:xfrm>
            <a:custGeom>
              <a:avLst/>
              <a:gdLst>
                <a:gd name="T0" fmla="*/ 0 w 32"/>
                <a:gd name="T1" fmla="*/ 10 h 22"/>
                <a:gd name="T2" fmla="*/ 0 w 32"/>
                <a:gd name="T3" fmla="*/ 10 h 22"/>
                <a:gd name="T4" fmla="*/ 0 w 32"/>
                <a:gd name="T5" fmla="*/ 8 h 22"/>
                <a:gd name="T6" fmla="*/ 3 w 32"/>
                <a:gd name="T7" fmla="*/ 5 h 22"/>
                <a:gd name="T8" fmla="*/ 4 w 32"/>
                <a:gd name="T9" fmla="*/ 4 h 22"/>
                <a:gd name="T10" fmla="*/ 5 w 32"/>
                <a:gd name="T11" fmla="*/ 4 h 22"/>
                <a:gd name="T12" fmla="*/ 5 w 32"/>
                <a:gd name="T13" fmla="*/ 4 h 22"/>
                <a:gd name="T14" fmla="*/ 5 w 32"/>
                <a:gd name="T15" fmla="*/ 4 h 22"/>
                <a:gd name="T16" fmla="*/ 5 w 32"/>
                <a:gd name="T17" fmla="*/ 4 h 22"/>
                <a:gd name="T18" fmla="*/ 5 w 32"/>
                <a:gd name="T19" fmla="*/ 4 h 22"/>
                <a:gd name="T20" fmla="*/ 5 w 32"/>
                <a:gd name="T21" fmla="*/ 4 h 22"/>
                <a:gd name="T22" fmla="*/ 5 w 32"/>
                <a:gd name="T23" fmla="*/ 4 h 22"/>
                <a:gd name="T24" fmla="*/ 6 w 32"/>
                <a:gd name="T25" fmla="*/ 4 h 22"/>
                <a:gd name="T26" fmla="*/ 7 w 32"/>
                <a:gd name="T27" fmla="*/ 4 h 22"/>
                <a:gd name="T28" fmla="*/ 8 w 32"/>
                <a:gd name="T29" fmla="*/ 4 h 22"/>
                <a:gd name="T30" fmla="*/ 8 w 32"/>
                <a:gd name="T31" fmla="*/ 4 h 22"/>
                <a:gd name="T32" fmla="*/ 9 w 32"/>
                <a:gd name="T33" fmla="*/ 4 h 22"/>
                <a:gd name="T34" fmla="*/ 16 w 32"/>
                <a:gd name="T35" fmla="*/ 7 h 22"/>
                <a:gd name="T36" fmla="*/ 19 w 32"/>
                <a:gd name="T37" fmla="*/ 9 h 22"/>
                <a:gd name="T38" fmla="*/ 22 w 32"/>
                <a:gd name="T39" fmla="*/ 12 h 22"/>
                <a:gd name="T40" fmla="*/ 27 w 32"/>
                <a:gd name="T41" fmla="*/ 17 h 22"/>
                <a:gd name="T42" fmla="*/ 32 w 32"/>
                <a:gd name="T43" fmla="*/ 22 h 22"/>
                <a:gd name="T44" fmla="*/ 31 w 32"/>
                <a:gd name="T45" fmla="*/ 20 h 22"/>
                <a:gd name="T46" fmla="*/ 29 w 32"/>
                <a:gd name="T47" fmla="*/ 15 h 22"/>
                <a:gd name="T48" fmla="*/ 27 w 32"/>
                <a:gd name="T49" fmla="*/ 12 h 22"/>
                <a:gd name="T50" fmla="*/ 25 w 32"/>
                <a:gd name="T51" fmla="*/ 9 h 22"/>
                <a:gd name="T52" fmla="*/ 18 w 32"/>
                <a:gd name="T53" fmla="*/ 4 h 22"/>
                <a:gd name="T54" fmla="*/ 14 w 32"/>
                <a:gd name="T55" fmla="*/ 1 h 22"/>
                <a:gd name="T56" fmla="*/ 10 w 32"/>
                <a:gd name="T57" fmla="*/ 0 h 22"/>
                <a:gd name="T58" fmla="*/ 8 w 32"/>
                <a:gd name="T59" fmla="*/ 0 h 22"/>
                <a:gd name="T60" fmla="*/ 7 w 32"/>
                <a:gd name="T61" fmla="*/ 0 h 22"/>
                <a:gd name="T62" fmla="*/ 6 w 32"/>
                <a:gd name="T63" fmla="*/ 1 h 22"/>
                <a:gd name="T64" fmla="*/ 5 w 32"/>
                <a:gd name="T65" fmla="*/ 1 h 22"/>
                <a:gd name="T66" fmla="*/ 5 w 32"/>
                <a:gd name="T67" fmla="*/ 1 h 22"/>
                <a:gd name="T68" fmla="*/ 4 w 32"/>
                <a:gd name="T69" fmla="*/ 1 h 22"/>
                <a:gd name="T70" fmla="*/ 4 w 32"/>
                <a:gd name="T71" fmla="*/ 1 h 22"/>
                <a:gd name="T72" fmla="*/ 3 w 32"/>
                <a:gd name="T73" fmla="*/ 2 h 22"/>
                <a:gd name="T74" fmla="*/ 2 w 32"/>
                <a:gd name="T75" fmla="*/ 3 h 22"/>
                <a:gd name="T76" fmla="*/ 0 w 32"/>
                <a:gd name="T77" fmla="*/ 6 h 22"/>
                <a:gd name="T78" fmla="*/ 0 w 32"/>
                <a:gd name="T79" fmla="*/ 8 h 22"/>
                <a:gd name="T80" fmla="*/ 0 w 32"/>
                <a:gd name="T81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" h="2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9"/>
                    <a:pt x="0" y="9"/>
                    <a:pt x="0" y="8"/>
                  </a:cubicBezTo>
                  <a:cubicBezTo>
                    <a:pt x="1" y="7"/>
                    <a:pt x="2" y="6"/>
                    <a:pt x="3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1" y="4"/>
                    <a:pt x="14" y="5"/>
                    <a:pt x="16" y="7"/>
                  </a:cubicBezTo>
                  <a:cubicBezTo>
                    <a:pt x="17" y="7"/>
                    <a:pt x="18" y="8"/>
                    <a:pt x="19" y="9"/>
                  </a:cubicBezTo>
                  <a:cubicBezTo>
                    <a:pt x="20" y="10"/>
                    <a:pt x="21" y="11"/>
                    <a:pt x="22" y="12"/>
                  </a:cubicBezTo>
                  <a:cubicBezTo>
                    <a:pt x="24" y="13"/>
                    <a:pt x="26" y="15"/>
                    <a:pt x="27" y="17"/>
                  </a:cubicBezTo>
                  <a:cubicBezTo>
                    <a:pt x="30" y="20"/>
                    <a:pt x="32" y="22"/>
                    <a:pt x="32" y="22"/>
                  </a:cubicBezTo>
                  <a:cubicBezTo>
                    <a:pt x="32" y="22"/>
                    <a:pt x="32" y="21"/>
                    <a:pt x="31" y="20"/>
                  </a:cubicBezTo>
                  <a:cubicBezTo>
                    <a:pt x="31" y="19"/>
                    <a:pt x="30" y="17"/>
                    <a:pt x="29" y="15"/>
                  </a:cubicBezTo>
                  <a:cubicBezTo>
                    <a:pt x="28" y="14"/>
                    <a:pt x="28" y="13"/>
                    <a:pt x="27" y="12"/>
                  </a:cubicBezTo>
                  <a:cubicBezTo>
                    <a:pt x="26" y="11"/>
                    <a:pt x="25" y="10"/>
                    <a:pt x="25" y="9"/>
                  </a:cubicBezTo>
                  <a:cubicBezTo>
                    <a:pt x="23" y="7"/>
                    <a:pt x="21" y="5"/>
                    <a:pt x="18" y="4"/>
                  </a:cubicBezTo>
                  <a:cubicBezTo>
                    <a:pt x="17" y="3"/>
                    <a:pt x="15" y="2"/>
                    <a:pt x="14" y="1"/>
                  </a:cubicBezTo>
                  <a:cubicBezTo>
                    <a:pt x="13" y="1"/>
                    <a:pt x="11" y="1"/>
                    <a:pt x="10" y="0"/>
                  </a:cubicBezTo>
                  <a:cubicBezTo>
                    <a:pt x="9" y="0"/>
                    <a:pt x="9" y="0"/>
                    <a:pt x="8" y="0"/>
                  </a:cubicBezTo>
                  <a:cubicBezTo>
                    <a:pt x="8" y="0"/>
                    <a:pt x="8" y="0"/>
                    <a:pt x="7" y="0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6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2" y="3"/>
                    <a:pt x="2" y="3"/>
                  </a:cubicBezTo>
                  <a:cubicBezTo>
                    <a:pt x="1" y="4"/>
                    <a:pt x="0" y="5"/>
                    <a:pt x="0" y="6"/>
                  </a:cubicBezTo>
                  <a:cubicBezTo>
                    <a:pt x="0" y="7"/>
                    <a:pt x="0" y="7"/>
                    <a:pt x="0" y="8"/>
                  </a:cubicBezTo>
                  <a:cubicBezTo>
                    <a:pt x="0" y="9"/>
                    <a:pt x="0" y="9"/>
                    <a:pt x="0" y="1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1" name="íş1íḋê">
              <a:extLst>
                <a:ext uri="{FF2B5EF4-FFF2-40B4-BE49-F238E27FC236}">
                  <a16:creationId xmlns:a16="http://schemas.microsoft.com/office/drawing/2014/main" id="{265B95A3-5F30-4FC2-A4A7-9F23121DA964}"/>
                </a:ext>
              </a:extLst>
            </p:cNvPr>
            <p:cNvSpPr/>
            <p:nvPr userDrawn="1"/>
          </p:nvSpPr>
          <p:spPr bwMode="auto">
            <a:xfrm>
              <a:off x="8748427" y="2780881"/>
              <a:ext cx="222175" cy="297879"/>
            </a:xfrm>
            <a:custGeom>
              <a:avLst/>
              <a:gdLst>
                <a:gd name="T0" fmla="*/ 7 w 58"/>
                <a:gd name="T1" fmla="*/ 22 h 78"/>
                <a:gd name="T2" fmla="*/ 43 w 58"/>
                <a:gd name="T3" fmla="*/ 16 h 78"/>
                <a:gd name="T4" fmla="*/ 0 w 58"/>
                <a:gd name="T5" fmla="*/ 65 h 78"/>
                <a:gd name="T6" fmla="*/ 7 w 58"/>
                <a:gd name="T7" fmla="*/ 2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78">
                  <a:moveTo>
                    <a:pt x="7" y="22"/>
                  </a:moveTo>
                  <a:cubicBezTo>
                    <a:pt x="7" y="22"/>
                    <a:pt x="27" y="0"/>
                    <a:pt x="43" y="16"/>
                  </a:cubicBezTo>
                  <a:cubicBezTo>
                    <a:pt x="58" y="33"/>
                    <a:pt x="31" y="78"/>
                    <a:pt x="0" y="65"/>
                  </a:cubicBezTo>
                  <a:lnTo>
                    <a:pt x="7" y="22"/>
                  </a:ln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2" name="íṧḷíďè">
              <a:extLst>
                <a:ext uri="{FF2B5EF4-FFF2-40B4-BE49-F238E27FC236}">
                  <a16:creationId xmlns:a16="http://schemas.microsoft.com/office/drawing/2014/main" id="{7EB307C2-66A6-448A-8EF2-887D4820030E}"/>
                </a:ext>
              </a:extLst>
            </p:cNvPr>
            <p:cNvSpPr/>
            <p:nvPr userDrawn="1"/>
          </p:nvSpPr>
          <p:spPr bwMode="auto">
            <a:xfrm>
              <a:off x="8748427" y="2853294"/>
              <a:ext cx="179386" cy="182677"/>
            </a:xfrm>
            <a:custGeom>
              <a:avLst/>
              <a:gdLst>
                <a:gd name="T0" fmla="*/ 4 w 47"/>
                <a:gd name="T1" fmla="*/ 19 h 48"/>
                <a:gd name="T2" fmla="*/ 0 w 47"/>
                <a:gd name="T3" fmla="*/ 41 h 48"/>
                <a:gd name="T4" fmla="*/ 34 w 47"/>
                <a:gd name="T5" fmla="*/ 5 h 48"/>
                <a:gd name="T6" fmla="*/ 4 w 47"/>
                <a:gd name="T7" fmla="*/ 19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" h="48">
                  <a:moveTo>
                    <a:pt x="4" y="19"/>
                  </a:moveTo>
                  <a:cubicBezTo>
                    <a:pt x="0" y="41"/>
                    <a:pt x="0" y="41"/>
                    <a:pt x="0" y="41"/>
                  </a:cubicBezTo>
                  <a:cubicBezTo>
                    <a:pt x="28" y="48"/>
                    <a:pt x="47" y="11"/>
                    <a:pt x="34" y="5"/>
                  </a:cubicBezTo>
                  <a:cubicBezTo>
                    <a:pt x="24" y="0"/>
                    <a:pt x="10" y="12"/>
                    <a:pt x="4" y="19"/>
                  </a:cubicBezTo>
                  <a:close/>
                </a:path>
              </a:pathLst>
            </a:custGeom>
            <a:solidFill>
              <a:srgbClr val="F7A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3" name="ïşlíďe">
              <a:extLst>
                <a:ext uri="{FF2B5EF4-FFF2-40B4-BE49-F238E27FC236}">
                  <a16:creationId xmlns:a16="http://schemas.microsoft.com/office/drawing/2014/main" id="{BCC22F31-6EDC-40F5-AA90-B5435AD95566}"/>
                </a:ext>
              </a:extLst>
            </p:cNvPr>
            <p:cNvSpPr/>
            <p:nvPr userDrawn="1"/>
          </p:nvSpPr>
          <p:spPr bwMode="auto">
            <a:xfrm>
              <a:off x="8764884" y="2861522"/>
              <a:ext cx="128367" cy="64184"/>
            </a:xfrm>
            <a:custGeom>
              <a:avLst/>
              <a:gdLst>
                <a:gd name="T0" fmla="*/ 34 w 34"/>
                <a:gd name="T1" fmla="*/ 11 h 17"/>
                <a:gd name="T2" fmla="*/ 34 w 34"/>
                <a:gd name="T3" fmla="*/ 10 h 17"/>
                <a:gd name="T4" fmla="*/ 34 w 34"/>
                <a:gd name="T5" fmla="*/ 9 h 17"/>
                <a:gd name="T6" fmla="*/ 31 w 34"/>
                <a:gd name="T7" fmla="*/ 5 h 17"/>
                <a:gd name="T8" fmla="*/ 30 w 34"/>
                <a:gd name="T9" fmla="*/ 4 h 17"/>
                <a:gd name="T10" fmla="*/ 30 w 34"/>
                <a:gd name="T11" fmla="*/ 4 h 17"/>
                <a:gd name="T12" fmla="*/ 30 w 34"/>
                <a:gd name="T13" fmla="*/ 4 h 17"/>
                <a:gd name="T14" fmla="*/ 30 w 34"/>
                <a:gd name="T15" fmla="*/ 4 h 17"/>
                <a:gd name="T16" fmla="*/ 30 w 34"/>
                <a:gd name="T17" fmla="*/ 4 h 17"/>
                <a:gd name="T18" fmla="*/ 30 w 34"/>
                <a:gd name="T19" fmla="*/ 4 h 17"/>
                <a:gd name="T20" fmla="*/ 30 w 34"/>
                <a:gd name="T21" fmla="*/ 4 h 17"/>
                <a:gd name="T22" fmla="*/ 29 w 34"/>
                <a:gd name="T23" fmla="*/ 4 h 17"/>
                <a:gd name="T24" fmla="*/ 29 w 34"/>
                <a:gd name="T25" fmla="*/ 4 h 17"/>
                <a:gd name="T26" fmla="*/ 28 w 34"/>
                <a:gd name="T27" fmla="*/ 3 h 17"/>
                <a:gd name="T28" fmla="*/ 27 w 34"/>
                <a:gd name="T29" fmla="*/ 3 h 17"/>
                <a:gd name="T30" fmla="*/ 27 w 34"/>
                <a:gd name="T31" fmla="*/ 3 h 17"/>
                <a:gd name="T32" fmla="*/ 26 w 34"/>
                <a:gd name="T33" fmla="*/ 3 h 17"/>
                <a:gd name="T34" fmla="*/ 19 w 34"/>
                <a:gd name="T35" fmla="*/ 5 h 17"/>
                <a:gd name="T36" fmla="*/ 15 w 34"/>
                <a:gd name="T37" fmla="*/ 7 h 17"/>
                <a:gd name="T38" fmla="*/ 12 w 34"/>
                <a:gd name="T39" fmla="*/ 9 h 17"/>
                <a:gd name="T40" fmla="*/ 6 w 34"/>
                <a:gd name="T41" fmla="*/ 13 h 17"/>
                <a:gd name="T42" fmla="*/ 0 w 34"/>
                <a:gd name="T43" fmla="*/ 17 h 17"/>
                <a:gd name="T44" fmla="*/ 1 w 34"/>
                <a:gd name="T45" fmla="*/ 15 h 17"/>
                <a:gd name="T46" fmla="*/ 4 w 34"/>
                <a:gd name="T47" fmla="*/ 11 h 17"/>
                <a:gd name="T48" fmla="*/ 7 w 34"/>
                <a:gd name="T49" fmla="*/ 9 h 17"/>
                <a:gd name="T50" fmla="*/ 10 w 34"/>
                <a:gd name="T51" fmla="*/ 6 h 17"/>
                <a:gd name="T52" fmla="*/ 17 w 34"/>
                <a:gd name="T53" fmla="*/ 1 h 17"/>
                <a:gd name="T54" fmla="*/ 21 w 34"/>
                <a:gd name="T55" fmla="*/ 0 h 17"/>
                <a:gd name="T56" fmla="*/ 26 w 34"/>
                <a:gd name="T57" fmla="*/ 0 h 17"/>
                <a:gd name="T58" fmla="*/ 27 w 34"/>
                <a:gd name="T59" fmla="*/ 0 h 17"/>
                <a:gd name="T60" fmla="*/ 28 w 34"/>
                <a:gd name="T61" fmla="*/ 0 h 17"/>
                <a:gd name="T62" fmla="*/ 29 w 34"/>
                <a:gd name="T63" fmla="*/ 1 h 17"/>
                <a:gd name="T64" fmla="*/ 30 w 34"/>
                <a:gd name="T65" fmla="*/ 1 h 17"/>
                <a:gd name="T66" fmla="*/ 31 w 34"/>
                <a:gd name="T67" fmla="*/ 1 h 17"/>
                <a:gd name="T68" fmla="*/ 31 w 34"/>
                <a:gd name="T69" fmla="*/ 1 h 17"/>
                <a:gd name="T70" fmla="*/ 31 w 34"/>
                <a:gd name="T71" fmla="*/ 2 h 17"/>
                <a:gd name="T72" fmla="*/ 32 w 34"/>
                <a:gd name="T73" fmla="*/ 2 h 17"/>
                <a:gd name="T74" fmla="*/ 33 w 34"/>
                <a:gd name="T75" fmla="*/ 4 h 17"/>
                <a:gd name="T76" fmla="*/ 34 w 34"/>
                <a:gd name="T77" fmla="*/ 7 h 17"/>
                <a:gd name="T78" fmla="*/ 34 w 34"/>
                <a:gd name="T79" fmla="*/ 9 h 17"/>
                <a:gd name="T80" fmla="*/ 34 w 34"/>
                <a:gd name="T81" fmla="*/ 10 h 17"/>
                <a:gd name="T82" fmla="*/ 34 w 34"/>
                <a:gd name="T83" fmla="*/ 1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4" h="17">
                  <a:moveTo>
                    <a:pt x="34" y="11"/>
                  </a:moveTo>
                  <a:cubicBezTo>
                    <a:pt x="34" y="10"/>
                    <a:pt x="34" y="10"/>
                    <a:pt x="34" y="10"/>
                  </a:cubicBezTo>
                  <a:cubicBezTo>
                    <a:pt x="34" y="10"/>
                    <a:pt x="34" y="10"/>
                    <a:pt x="34" y="9"/>
                  </a:cubicBezTo>
                  <a:cubicBezTo>
                    <a:pt x="33" y="8"/>
                    <a:pt x="33" y="6"/>
                    <a:pt x="31" y="5"/>
                  </a:cubicBezTo>
                  <a:cubicBezTo>
                    <a:pt x="31" y="5"/>
                    <a:pt x="31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3" y="3"/>
                    <a:pt x="21" y="4"/>
                    <a:pt x="19" y="5"/>
                  </a:cubicBezTo>
                  <a:cubicBezTo>
                    <a:pt x="17" y="5"/>
                    <a:pt x="16" y="6"/>
                    <a:pt x="15" y="7"/>
                  </a:cubicBezTo>
                  <a:cubicBezTo>
                    <a:pt x="14" y="7"/>
                    <a:pt x="13" y="8"/>
                    <a:pt x="12" y="9"/>
                  </a:cubicBezTo>
                  <a:cubicBezTo>
                    <a:pt x="10" y="10"/>
                    <a:pt x="8" y="12"/>
                    <a:pt x="6" y="13"/>
                  </a:cubicBezTo>
                  <a:cubicBezTo>
                    <a:pt x="3" y="15"/>
                    <a:pt x="0" y="17"/>
                    <a:pt x="0" y="17"/>
                  </a:cubicBezTo>
                  <a:cubicBezTo>
                    <a:pt x="0" y="17"/>
                    <a:pt x="1" y="16"/>
                    <a:pt x="1" y="15"/>
                  </a:cubicBezTo>
                  <a:cubicBezTo>
                    <a:pt x="2" y="14"/>
                    <a:pt x="3" y="13"/>
                    <a:pt x="4" y="11"/>
                  </a:cubicBezTo>
                  <a:cubicBezTo>
                    <a:pt x="5" y="10"/>
                    <a:pt x="6" y="10"/>
                    <a:pt x="7" y="9"/>
                  </a:cubicBezTo>
                  <a:cubicBezTo>
                    <a:pt x="8" y="8"/>
                    <a:pt x="9" y="7"/>
                    <a:pt x="10" y="6"/>
                  </a:cubicBezTo>
                  <a:cubicBezTo>
                    <a:pt x="12" y="4"/>
                    <a:pt x="14" y="3"/>
                    <a:pt x="17" y="1"/>
                  </a:cubicBezTo>
                  <a:cubicBezTo>
                    <a:pt x="18" y="1"/>
                    <a:pt x="20" y="0"/>
                    <a:pt x="21" y="0"/>
                  </a:cubicBezTo>
                  <a:cubicBezTo>
                    <a:pt x="23" y="0"/>
                    <a:pt x="24" y="0"/>
                    <a:pt x="26" y="0"/>
                  </a:cubicBezTo>
                  <a:cubicBezTo>
                    <a:pt x="26" y="0"/>
                    <a:pt x="27" y="0"/>
                    <a:pt x="27" y="0"/>
                  </a:cubicBezTo>
                  <a:cubicBezTo>
                    <a:pt x="27" y="0"/>
                    <a:pt x="28" y="0"/>
                    <a:pt x="28" y="0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3"/>
                    <a:pt x="33" y="3"/>
                    <a:pt x="33" y="4"/>
                  </a:cubicBezTo>
                  <a:cubicBezTo>
                    <a:pt x="34" y="5"/>
                    <a:pt x="34" y="6"/>
                    <a:pt x="34" y="7"/>
                  </a:cubicBezTo>
                  <a:cubicBezTo>
                    <a:pt x="34" y="8"/>
                    <a:pt x="34" y="8"/>
                    <a:pt x="34" y="9"/>
                  </a:cubicBezTo>
                  <a:cubicBezTo>
                    <a:pt x="34" y="10"/>
                    <a:pt x="34" y="10"/>
                    <a:pt x="34" y="10"/>
                  </a:cubicBezTo>
                  <a:lnTo>
                    <a:pt x="34" y="11"/>
                  </a:ln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4" name="íṧ1iḍé">
              <a:extLst>
                <a:ext uri="{FF2B5EF4-FFF2-40B4-BE49-F238E27FC236}">
                  <a16:creationId xmlns:a16="http://schemas.microsoft.com/office/drawing/2014/main" id="{C9504CCB-28EF-4A00-A933-5292602CF21B}"/>
                </a:ext>
              </a:extLst>
            </p:cNvPr>
            <p:cNvSpPr/>
            <p:nvPr userDrawn="1"/>
          </p:nvSpPr>
          <p:spPr bwMode="auto">
            <a:xfrm>
              <a:off x="8335346" y="3113320"/>
              <a:ext cx="187614" cy="330794"/>
            </a:xfrm>
            <a:custGeom>
              <a:avLst/>
              <a:gdLst>
                <a:gd name="T0" fmla="*/ 1 w 49"/>
                <a:gd name="T1" fmla="*/ 0 h 87"/>
                <a:gd name="T2" fmla="*/ 47 w 49"/>
                <a:gd name="T3" fmla="*/ 0 h 87"/>
                <a:gd name="T4" fmla="*/ 49 w 49"/>
                <a:gd name="T5" fmla="*/ 72 h 87"/>
                <a:gd name="T6" fmla="*/ 25 w 49"/>
                <a:gd name="T7" fmla="*/ 86 h 87"/>
                <a:gd name="T8" fmla="*/ 0 w 49"/>
                <a:gd name="T9" fmla="*/ 72 h 87"/>
                <a:gd name="T10" fmla="*/ 1 w 49"/>
                <a:gd name="T11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" h="87">
                  <a:moveTo>
                    <a:pt x="1" y="0"/>
                  </a:moveTo>
                  <a:cubicBezTo>
                    <a:pt x="47" y="0"/>
                    <a:pt x="47" y="0"/>
                    <a:pt x="47" y="0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5" y="86"/>
                    <a:pt x="25" y="86"/>
                  </a:cubicBezTo>
                  <a:cubicBezTo>
                    <a:pt x="5" y="87"/>
                    <a:pt x="0" y="72"/>
                    <a:pt x="0" y="72"/>
                  </a:cubicBezTo>
                  <a:cubicBezTo>
                    <a:pt x="0" y="7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5" name="íSḷíḍé">
              <a:extLst>
                <a:ext uri="{FF2B5EF4-FFF2-40B4-BE49-F238E27FC236}">
                  <a16:creationId xmlns:a16="http://schemas.microsoft.com/office/drawing/2014/main" id="{7EACEEDA-0104-47E3-9361-C75ED4FB9243}"/>
                </a:ext>
              </a:extLst>
            </p:cNvPr>
            <p:cNvSpPr/>
            <p:nvPr userDrawn="1"/>
          </p:nvSpPr>
          <p:spPr bwMode="auto">
            <a:xfrm>
              <a:off x="8335346" y="3113320"/>
              <a:ext cx="187614" cy="330794"/>
            </a:xfrm>
            <a:custGeom>
              <a:avLst/>
              <a:gdLst>
                <a:gd name="T0" fmla="*/ 1 w 49"/>
                <a:gd name="T1" fmla="*/ 0 h 87"/>
                <a:gd name="T2" fmla="*/ 47 w 49"/>
                <a:gd name="T3" fmla="*/ 0 h 87"/>
                <a:gd name="T4" fmla="*/ 49 w 49"/>
                <a:gd name="T5" fmla="*/ 72 h 87"/>
                <a:gd name="T6" fmla="*/ 25 w 49"/>
                <a:gd name="T7" fmla="*/ 86 h 87"/>
                <a:gd name="T8" fmla="*/ 0 w 49"/>
                <a:gd name="T9" fmla="*/ 72 h 87"/>
                <a:gd name="T10" fmla="*/ 1 w 49"/>
                <a:gd name="T11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" h="87">
                  <a:moveTo>
                    <a:pt x="1" y="0"/>
                  </a:moveTo>
                  <a:cubicBezTo>
                    <a:pt x="47" y="0"/>
                    <a:pt x="47" y="0"/>
                    <a:pt x="47" y="0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5" y="86"/>
                    <a:pt x="25" y="86"/>
                  </a:cubicBezTo>
                  <a:cubicBezTo>
                    <a:pt x="5" y="87"/>
                    <a:pt x="0" y="72"/>
                    <a:pt x="0" y="72"/>
                  </a:cubicBezTo>
                  <a:cubicBezTo>
                    <a:pt x="0" y="7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6" name="ï$lïďê">
              <a:extLst>
                <a:ext uri="{FF2B5EF4-FFF2-40B4-BE49-F238E27FC236}">
                  <a16:creationId xmlns:a16="http://schemas.microsoft.com/office/drawing/2014/main" id="{DDEAF4E3-2289-4F78-8E69-1051F1D900DE}"/>
                </a:ext>
              </a:extLst>
            </p:cNvPr>
            <p:cNvSpPr/>
            <p:nvPr userDrawn="1"/>
          </p:nvSpPr>
          <p:spPr bwMode="auto">
            <a:xfrm>
              <a:off x="8340284" y="3154463"/>
              <a:ext cx="182677" cy="92161"/>
            </a:xfrm>
            <a:custGeom>
              <a:avLst/>
              <a:gdLst>
                <a:gd name="T0" fmla="*/ 3 w 48"/>
                <a:gd name="T1" fmla="*/ 0 h 24"/>
                <a:gd name="T2" fmla="*/ 48 w 48"/>
                <a:gd name="T3" fmla="*/ 4 h 24"/>
                <a:gd name="T4" fmla="*/ 48 w 48"/>
                <a:gd name="T5" fmla="*/ 21 h 24"/>
                <a:gd name="T6" fmla="*/ 33 w 48"/>
                <a:gd name="T7" fmla="*/ 23 h 24"/>
                <a:gd name="T8" fmla="*/ 0 w 48"/>
                <a:gd name="T9" fmla="*/ 18 h 24"/>
                <a:gd name="T10" fmla="*/ 3 w 48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" h="24">
                  <a:moveTo>
                    <a:pt x="3" y="0"/>
                  </a:moveTo>
                  <a:cubicBezTo>
                    <a:pt x="48" y="4"/>
                    <a:pt x="48" y="4"/>
                    <a:pt x="48" y="4"/>
                  </a:cubicBezTo>
                  <a:cubicBezTo>
                    <a:pt x="48" y="4"/>
                    <a:pt x="48" y="13"/>
                    <a:pt x="48" y="21"/>
                  </a:cubicBezTo>
                  <a:cubicBezTo>
                    <a:pt x="48" y="22"/>
                    <a:pt x="34" y="23"/>
                    <a:pt x="33" y="23"/>
                  </a:cubicBezTo>
                  <a:cubicBezTo>
                    <a:pt x="22" y="24"/>
                    <a:pt x="11" y="22"/>
                    <a:pt x="0" y="18"/>
                  </a:cubicBezTo>
                  <a:cubicBezTo>
                    <a:pt x="1" y="10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7" name="iṩlïḍe">
              <a:extLst>
                <a:ext uri="{FF2B5EF4-FFF2-40B4-BE49-F238E27FC236}">
                  <a16:creationId xmlns:a16="http://schemas.microsoft.com/office/drawing/2014/main" id="{EEB15323-3E5E-4EA2-BC14-74AA6034E31A}"/>
                </a:ext>
              </a:extLst>
            </p:cNvPr>
            <p:cNvSpPr/>
            <p:nvPr userDrawn="1"/>
          </p:nvSpPr>
          <p:spPr bwMode="auto">
            <a:xfrm>
              <a:off x="8086841" y="2441860"/>
              <a:ext cx="750456" cy="812994"/>
            </a:xfrm>
            <a:custGeom>
              <a:avLst/>
              <a:gdLst>
                <a:gd name="T0" fmla="*/ 2 w 196"/>
                <a:gd name="T1" fmla="*/ 75 h 213"/>
                <a:gd name="T2" fmla="*/ 55 w 196"/>
                <a:gd name="T3" fmla="*/ 5 h 213"/>
                <a:gd name="T4" fmla="*/ 106 w 196"/>
                <a:gd name="T5" fmla="*/ 2 h 213"/>
                <a:gd name="T6" fmla="*/ 156 w 196"/>
                <a:gd name="T7" fmla="*/ 14 h 213"/>
                <a:gd name="T8" fmla="*/ 178 w 196"/>
                <a:gd name="T9" fmla="*/ 70 h 213"/>
                <a:gd name="T10" fmla="*/ 196 w 196"/>
                <a:gd name="T11" fmla="*/ 92 h 213"/>
                <a:gd name="T12" fmla="*/ 195 w 196"/>
                <a:gd name="T13" fmla="*/ 111 h 213"/>
                <a:gd name="T14" fmla="*/ 183 w 196"/>
                <a:gd name="T15" fmla="*/ 154 h 213"/>
                <a:gd name="T16" fmla="*/ 150 w 196"/>
                <a:gd name="T17" fmla="*/ 196 h 213"/>
                <a:gd name="T18" fmla="*/ 121 w 196"/>
                <a:gd name="T19" fmla="*/ 208 h 213"/>
                <a:gd name="T20" fmla="*/ 72 w 196"/>
                <a:gd name="T21" fmla="*/ 209 h 213"/>
                <a:gd name="T22" fmla="*/ 41 w 196"/>
                <a:gd name="T23" fmla="*/ 194 h 213"/>
                <a:gd name="T24" fmla="*/ 7 w 196"/>
                <a:gd name="T25" fmla="*/ 149 h 213"/>
                <a:gd name="T26" fmla="*/ 0 w 196"/>
                <a:gd name="T27" fmla="*/ 102 h 213"/>
                <a:gd name="T28" fmla="*/ 2 w 196"/>
                <a:gd name="T29" fmla="*/ 76 h 213"/>
                <a:gd name="T30" fmla="*/ 2 w 196"/>
                <a:gd name="T31" fmla="*/ 75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6" h="213">
                  <a:moveTo>
                    <a:pt x="2" y="75"/>
                  </a:moveTo>
                  <a:cubicBezTo>
                    <a:pt x="6" y="43"/>
                    <a:pt x="22" y="15"/>
                    <a:pt x="55" y="5"/>
                  </a:cubicBezTo>
                  <a:cubicBezTo>
                    <a:pt x="71" y="0"/>
                    <a:pt x="89" y="0"/>
                    <a:pt x="106" y="2"/>
                  </a:cubicBezTo>
                  <a:cubicBezTo>
                    <a:pt x="123" y="3"/>
                    <a:pt x="140" y="6"/>
                    <a:pt x="156" y="14"/>
                  </a:cubicBezTo>
                  <a:cubicBezTo>
                    <a:pt x="183" y="27"/>
                    <a:pt x="178" y="41"/>
                    <a:pt x="178" y="70"/>
                  </a:cubicBezTo>
                  <a:cubicBezTo>
                    <a:pt x="178" y="73"/>
                    <a:pt x="196" y="89"/>
                    <a:pt x="196" y="92"/>
                  </a:cubicBezTo>
                  <a:cubicBezTo>
                    <a:pt x="195" y="98"/>
                    <a:pt x="195" y="105"/>
                    <a:pt x="195" y="111"/>
                  </a:cubicBezTo>
                  <a:cubicBezTo>
                    <a:pt x="193" y="126"/>
                    <a:pt x="189" y="140"/>
                    <a:pt x="183" y="154"/>
                  </a:cubicBezTo>
                  <a:cubicBezTo>
                    <a:pt x="176" y="171"/>
                    <a:pt x="165" y="185"/>
                    <a:pt x="150" y="196"/>
                  </a:cubicBezTo>
                  <a:cubicBezTo>
                    <a:pt x="141" y="202"/>
                    <a:pt x="131" y="206"/>
                    <a:pt x="121" y="208"/>
                  </a:cubicBezTo>
                  <a:cubicBezTo>
                    <a:pt x="105" y="213"/>
                    <a:pt x="89" y="213"/>
                    <a:pt x="72" y="209"/>
                  </a:cubicBezTo>
                  <a:cubicBezTo>
                    <a:pt x="61" y="206"/>
                    <a:pt x="50" y="201"/>
                    <a:pt x="41" y="194"/>
                  </a:cubicBezTo>
                  <a:cubicBezTo>
                    <a:pt x="25" y="183"/>
                    <a:pt x="13" y="167"/>
                    <a:pt x="7" y="149"/>
                  </a:cubicBezTo>
                  <a:cubicBezTo>
                    <a:pt x="2" y="134"/>
                    <a:pt x="0" y="118"/>
                    <a:pt x="0" y="102"/>
                  </a:cubicBezTo>
                  <a:cubicBezTo>
                    <a:pt x="0" y="93"/>
                    <a:pt x="0" y="84"/>
                    <a:pt x="2" y="76"/>
                  </a:cubicBezTo>
                  <a:lnTo>
                    <a:pt x="2" y="75"/>
                  </a:ln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8" name="iš1íḓè">
              <a:extLst>
                <a:ext uri="{FF2B5EF4-FFF2-40B4-BE49-F238E27FC236}">
                  <a16:creationId xmlns:a16="http://schemas.microsoft.com/office/drawing/2014/main" id="{FB6BD81C-6E5D-47F0-BB34-3B766D0EAEB0}"/>
                </a:ext>
              </a:extLst>
            </p:cNvPr>
            <p:cNvSpPr/>
            <p:nvPr userDrawn="1"/>
          </p:nvSpPr>
          <p:spPr bwMode="auto">
            <a:xfrm>
              <a:off x="8086841" y="2624536"/>
              <a:ext cx="4938" cy="106973"/>
            </a:xfrm>
            <a:custGeom>
              <a:avLst/>
              <a:gdLst>
                <a:gd name="T0" fmla="*/ 0 w 1"/>
                <a:gd name="T1" fmla="*/ 28 h 28"/>
                <a:gd name="T2" fmla="*/ 1 w 1"/>
                <a:gd name="T3" fmla="*/ 0 h 28"/>
                <a:gd name="T4" fmla="*/ 0 w 1"/>
                <a:gd name="T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8">
                  <a:moveTo>
                    <a:pt x="0" y="28"/>
                  </a:moveTo>
                  <a:cubicBezTo>
                    <a:pt x="0" y="28"/>
                    <a:pt x="0" y="15"/>
                    <a:pt x="1" y="0"/>
                  </a:cubicBezTo>
                  <a:cubicBezTo>
                    <a:pt x="0" y="16"/>
                    <a:pt x="0" y="28"/>
                    <a:pt x="0" y="28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9" name="işļíḍê">
              <a:extLst>
                <a:ext uri="{FF2B5EF4-FFF2-40B4-BE49-F238E27FC236}">
                  <a16:creationId xmlns:a16="http://schemas.microsoft.com/office/drawing/2014/main" id="{7B86B38C-D93C-4170-B264-035D2D476A7A}"/>
                </a:ext>
              </a:extLst>
            </p:cNvPr>
            <p:cNvSpPr/>
            <p:nvPr userDrawn="1"/>
          </p:nvSpPr>
          <p:spPr bwMode="auto">
            <a:xfrm>
              <a:off x="7869603" y="2269057"/>
              <a:ext cx="1051626" cy="1007191"/>
            </a:xfrm>
            <a:custGeom>
              <a:avLst/>
              <a:gdLst>
                <a:gd name="T0" fmla="*/ 76 w 275"/>
                <a:gd name="T1" fmla="*/ 56 h 264"/>
                <a:gd name="T2" fmla="*/ 267 w 275"/>
                <a:gd name="T3" fmla="*/ 145 h 264"/>
                <a:gd name="T4" fmla="*/ 98 w 275"/>
                <a:gd name="T5" fmla="*/ 239 h 264"/>
                <a:gd name="T6" fmla="*/ 76 w 275"/>
                <a:gd name="T7" fmla="*/ 56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5" h="264">
                  <a:moveTo>
                    <a:pt x="76" y="56"/>
                  </a:moveTo>
                  <a:cubicBezTo>
                    <a:pt x="104" y="13"/>
                    <a:pt x="258" y="0"/>
                    <a:pt x="267" y="145"/>
                  </a:cubicBezTo>
                  <a:cubicBezTo>
                    <a:pt x="275" y="251"/>
                    <a:pt x="155" y="264"/>
                    <a:pt x="98" y="239"/>
                  </a:cubicBezTo>
                  <a:cubicBezTo>
                    <a:pt x="0" y="197"/>
                    <a:pt x="47" y="99"/>
                    <a:pt x="76" y="56"/>
                  </a:cubicBez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0" name="ïṡļíḋe">
              <a:extLst>
                <a:ext uri="{FF2B5EF4-FFF2-40B4-BE49-F238E27FC236}">
                  <a16:creationId xmlns:a16="http://schemas.microsoft.com/office/drawing/2014/main" id="{425DDDE3-FD47-4C2F-92D4-1BB0EEB89B81}"/>
                </a:ext>
              </a:extLst>
            </p:cNvPr>
            <p:cNvSpPr/>
            <p:nvPr userDrawn="1"/>
          </p:nvSpPr>
          <p:spPr bwMode="auto">
            <a:xfrm>
              <a:off x="7979867" y="2152210"/>
              <a:ext cx="891989" cy="743873"/>
            </a:xfrm>
            <a:custGeom>
              <a:avLst/>
              <a:gdLst>
                <a:gd name="T0" fmla="*/ 27 w 233"/>
                <a:gd name="T1" fmla="*/ 195 h 195"/>
                <a:gd name="T2" fmla="*/ 6 w 233"/>
                <a:gd name="T3" fmla="*/ 161 h 195"/>
                <a:gd name="T4" fmla="*/ 32 w 233"/>
                <a:gd name="T5" fmla="*/ 75 h 195"/>
                <a:gd name="T6" fmla="*/ 51 w 233"/>
                <a:gd name="T7" fmla="*/ 68 h 195"/>
                <a:gd name="T8" fmla="*/ 84 w 233"/>
                <a:gd name="T9" fmla="*/ 41 h 195"/>
                <a:gd name="T10" fmla="*/ 215 w 233"/>
                <a:gd name="T11" fmla="*/ 81 h 195"/>
                <a:gd name="T12" fmla="*/ 126 w 233"/>
                <a:gd name="T13" fmla="*/ 136 h 195"/>
                <a:gd name="T14" fmla="*/ 61 w 233"/>
                <a:gd name="T15" fmla="*/ 116 h 195"/>
                <a:gd name="T16" fmla="*/ 54 w 233"/>
                <a:gd name="T17" fmla="*/ 147 h 195"/>
                <a:gd name="T18" fmla="*/ 27 w 233"/>
                <a:gd name="T19" fmla="*/ 185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3" h="195">
                  <a:moveTo>
                    <a:pt x="27" y="195"/>
                  </a:moveTo>
                  <a:cubicBezTo>
                    <a:pt x="27" y="195"/>
                    <a:pt x="13" y="191"/>
                    <a:pt x="6" y="161"/>
                  </a:cubicBezTo>
                  <a:cubicBezTo>
                    <a:pt x="0" y="140"/>
                    <a:pt x="6" y="96"/>
                    <a:pt x="32" y="75"/>
                  </a:cubicBezTo>
                  <a:cubicBezTo>
                    <a:pt x="47" y="62"/>
                    <a:pt x="51" y="68"/>
                    <a:pt x="51" y="68"/>
                  </a:cubicBezTo>
                  <a:cubicBezTo>
                    <a:pt x="51" y="68"/>
                    <a:pt x="55" y="53"/>
                    <a:pt x="84" y="41"/>
                  </a:cubicBezTo>
                  <a:cubicBezTo>
                    <a:pt x="178" y="0"/>
                    <a:pt x="201" y="44"/>
                    <a:pt x="215" y="81"/>
                  </a:cubicBezTo>
                  <a:cubicBezTo>
                    <a:pt x="233" y="131"/>
                    <a:pt x="224" y="168"/>
                    <a:pt x="126" y="136"/>
                  </a:cubicBezTo>
                  <a:cubicBezTo>
                    <a:pt x="86" y="123"/>
                    <a:pt x="61" y="116"/>
                    <a:pt x="61" y="116"/>
                  </a:cubicBezTo>
                  <a:cubicBezTo>
                    <a:pt x="61" y="116"/>
                    <a:pt x="62" y="129"/>
                    <a:pt x="54" y="147"/>
                  </a:cubicBezTo>
                  <a:cubicBezTo>
                    <a:pt x="46" y="165"/>
                    <a:pt x="27" y="185"/>
                    <a:pt x="27" y="185"/>
                  </a:cubicBezTo>
                </a:path>
              </a:pathLst>
            </a:custGeom>
            <a:solidFill>
              <a:srgbClr val="666666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1" name="işľiḍê">
              <a:extLst>
                <a:ext uri="{FF2B5EF4-FFF2-40B4-BE49-F238E27FC236}">
                  <a16:creationId xmlns:a16="http://schemas.microsoft.com/office/drawing/2014/main" id="{2C0A9916-D892-44F9-9477-D9AE1C868060}"/>
                </a:ext>
              </a:extLst>
            </p:cNvPr>
            <p:cNvSpPr/>
            <p:nvPr userDrawn="1"/>
          </p:nvSpPr>
          <p:spPr bwMode="auto">
            <a:xfrm>
              <a:off x="7705030" y="3376638"/>
              <a:ext cx="1441665" cy="812994"/>
            </a:xfrm>
            <a:custGeom>
              <a:avLst/>
              <a:gdLst>
                <a:gd name="T0" fmla="*/ 365 w 377"/>
                <a:gd name="T1" fmla="*/ 154 h 213"/>
                <a:gd name="T2" fmla="*/ 310 w 377"/>
                <a:gd name="T3" fmla="*/ 30 h 213"/>
                <a:gd name="T4" fmla="*/ 258 w 377"/>
                <a:gd name="T5" fmla="*/ 0 h 213"/>
                <a:gd name="T6" fmla="*/ 192 w 377"/>
                <a:gd name="T7" fmla="*/ 0 h 213"/>
                <a:gd name="T8" fmla="*/ 185 w 377"/>
                <a:gd name="T9" fmla="*/ 0 h 213"/>
                <a:gd name="T10" fmla="*/ 120 w 377"/>
                <a:gd name="T11" fmla="*/ 0 h 213"/>
                <a:gd name="T12" fmla="*/ 68 w 377"/>
                <a:gd name="T13" fmla="*/ 30 h 213"/>
                <a:gd name="T14" fmla="*/ 13 w 377"/>
                <a:gd name="T15" fmla="*/ 154 h 213"/>
                <a:gd name="T16" fmla="*/ 65 w 377"/>
                <a:gd name="T17" fmla="*/ 213 h 213"/>
                <a:gd name="T18" fmla="*/ 185 w 377"/>
                <a:gd name="T19" fmla="*/ 213 h 213"/>
                <a:gd name="T20" fmla="*/ 192 w 377"/>
                <a:gd name="T21" fmla="*/ 213 h 213"/>
                <a:gd name="T22" fmla="*/ 312 w 377"/>
                <a:gd name="T23" fmla="*/ 213 h 213"/>
                <a:gd name="T24" fmla="*/ 365 w 377"/>
                <a:gd name="T25" fmla="*/ 154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7" h="213">
                  <a:moveTo>
                    <a:pt x="365" y="154"/>
                  </a:moveTo>
                  <a:cubicBezTo>
                    <a:pt x="310" y="30"/>
                    <a:pt x="310" y="30"/>
                    <a:pt x="310" y="30"/>
                  </a:cubicBezTo>
                  <a:cubicBezTo>
                    <a:pt x="302" y="12"/>
                    <a:pt x="281" y="0"/>
                    <a:pt x="25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96" y="0"/>
                    <a:pt x="75" y="12"/>
                    <a:pt x="68" y="30"/>
                  </a:cubicBezTo>
                  <a:cubicBezTo>
                    <a:pt x="13" y="154"/>
                    <a:pt x="13" y="154"/>
                    <a:pt x="13" y="154"/>
                  </a:cubicBezTo>
                  <a:cubicBezTo>
                    <a:pt x="0" y="183"/>
                    <a:pt x="27" y="213"/>
                    <a:pt x="65" y="213"/>
                  </a:cubicBezTo>
                  <a:cubicBezTo>
                    <a:pt x="185" y="213"/>
                    <a:pt x="185" y="213"/>
                    <a:pt x="185" y="213"/>
                  </a:cubicBezTo>
                  <a:cubicBezTo>
                    <a:pt x="192" y="213"/>
                    <a:pt x="192" y="213"/>
                    <a:pt x="192" y="213"/>
                  </a:cubicBezTo>
                  <a:cubicBezTo>
                    <a:pt x="312" y="213"/>
                    <a:pt x="312" y="213"/>
                    <a:pt x="312" y="213"/>
                  </a:cubicBezTo>
                  <a:cubicBezTo>
                    <a:pt x="350" y="213"/>
                    <a:pt x="377" y="183"/>
                    <a:pt x="365" y="154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2" name="işḻíḍé">
              <a:extLst>
                <a:ext uri="{FF2B5EF4-FFF2-40B4-BE49-F238E27FC236}">
                  <a16:creationId xmlns:a16="http://schemas.microsoft.com/office/drawing/2014/main" id="{0B7F69A2-5EB7-4398-A300-F6473A913EE7}"/>
                </a:ext>
              </a:extLst>
            </p:cNvPr>
            <p:cNvSpPr/>
            <p:nvPr userDrawn="1"/>
          </p:nvSpPr>
          <p:spPr bwMode="auto">
            <a:xfrm>
              <a:off x="7912393" y="3460570"/>
              <a:ext cx="1038460" cy="1224428"/>
            </a:xfrm>
            <a:custGeom>
              <a:avLst/>
              <a:gdLst>
                <a:gd name="T0" fmla="*/ 216 w 272"/>
                <a:gd name="T1" fmla="*/ 321 h 321"/>
                <a:gd name="T2" fmla="*/ 57 w 272"/>
                <a:gd name="T3" fmla="*/ 321 h 321"/>
                <a:gd name="T4" fmla="*/ 0 w 272"/>
                <a:gd name="T5" fmla="*/ 265 h 321"/>
                <a:gd name="T6" fmla="*/ 0 w 272"/>
                <a:gd name="T7" fmla="*/ 56 h 321"/>
                <a:gd name="T8" fmla="*/ 57 w 272"/>
                <a:gd name="T9" fmla="*/ 0 h 321"/>
                <a:gd name="T10" fmla="*/ 216 w 272"/>
                <a:gd name="T11" fmla="*/ 0 h 321"/>
                <a:gd name="T12" fmla="*/ 272 w 272"/>
                <a:gd name="T13" fmla="*/ 56 h 321"/>
                <a:gd name="T14" fmla="*/ 272 w 272"/>
                <a:gd name="T15" fmla="*/ 265 h 321"/>
                <a:gd name="T16" fmla="*/ 216 w 272"/>
                <a:gd name="T17" fmla="*/ 32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2" h="321">
                  <a:moveTo>
                    <a:pt x="216" y="321"/>
                  </a:moveTo>
                  <a:cubicBezTo>
                    <a:pt x="57" y="321"/>
                    <a:pt x="57" y="321"/>
                    <a:pt x="57" y="321"/>
                  </a:cubicBezTo>
                  <a:cubicBezTo>
                    <a:pt x="25" y="321"/>
                    <a:pt x="0" y="296"/>
                    <a:pt x="0" y="2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25"/>
                    <a:pt x="25" y="0"/>
                    <a:pt x="57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47" y="0"/>
                    <a:pt x="272" y="25"/>
                    <a:pt x="272" y="56"/>
                  </a:cubicBezTo>
                  <a:cubicBezTo>
                    <a:pt x="272" y="265"/>
                    <a:pt x="272" y="265"/>
                    <a:pt x="272" y="265"/>
                  </a:cubicBezTo>
                  <a:cubicBezTo>
                    <a:pt x="272" y="296"/>
                    <a:pt x="247" y="321"/>
                    <a:pt x="216" y="321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3" name="ïṣľïḓè">
              <a:extLst>
                <a:ext uri="{FF2B5EF4-FFF2-40B4-BE49-F238E27FC236}">
                  <a16:creationId xmlns:a16="http://schemas.microsoft.com/office/drawing/2014/main" id="{B439BE05-E6B7-49C2-A9D7-8B961D72535F}"/>
                </a:ext>
              </a:extLst>
            </p:cNvPr>
            <p:cNvSpPr/>
            <p:nvPr userDrawn="1"/>
          </p:nvSpPr>
          <p:spPr bwMode="auto">
            <a:xfrm>
              <a:off x="7961765" y="3460570"/>
              <a:ext cx="939716" cy="1152016"/>
            </a:xfrm>
            <a:custGeom>
              <a:avLst/>
              <a:gdLst>
                <a:gd name="T0" fmla="*/ 190 w 246"/>
                <a:gd name="T1" fmla="*/ 302 h 302"/>
                <a:gd name="T2" fmla="*/ 57 w 246"/>
                <a:gd name="T3" fmla="*/ 302 h 302"/>
                <a:gd name="T4" fmla="*/ 0 w 246"/>
                <a:gd name="T5" fmla="*/ 245 h 302"/>
                <a:gd name="T6" fmla="*/ 0 w 246"/>
                <a:gd name="T7" fmla="*/ 56 h 302"/>
                <a:gd name="T8" fmla="*/ 57 w 246"/>
                <a:gd name="T9" fmla="*/ 0 h 302"/>
                <a:gd name="T10" fmla="*/ 190 w 246"/>
                <a:gd name="T11" fmla="*/ 0 h 302"/>
                <a:gd name="T12" fmla="*/ 246 w 246"/>
                <a:gd name="T13" fmla="*/ 56 h 302"/>
                <a:gd name="T14" fmla="*/ 246 w 246"/>
                <a:gd name="T15" fmla="*/ 245 h 302"/>
                <a:gd name="T16" fmla="*/ 190 w 246"/>
                <a:gd name="T17" fmla="*/ 302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6" h="302">
                  <a:moveTo>
                    <a:pt x="190" y="302"/>
                  </a:moveTo>
                  <a:cubicBezTo>
                    <a:pt x="57" y="302"/>
                    <a:pt x="57" y="302"/>
                    <a:pt x="57" y="302"/>
                  </a:cubicBezTo>
                  <a:cubicBezTo>
                    <a:pt x="26" y="302"/>
                    <a:pt x="0" y="276"/>
                    <a:pt x="0" y="24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25"/>
                    <a:pt x="26" y="0"/>
                    <a:pt x="57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221" y="0"/>
                    <a:pt x="246" y="25"/>
                    <a:pt x="246" y="56"/>
                  </a:cubicBezTo>
                  <a:cubicBezTo>
                    <a:pt x="246" y="245"/>
                    <a:pt x="246" y="245"/>
                    <a:pt x="246" y="245"/>
                  </a:cubicBezTo>
                  <a:cubicBezTo>
                    <a:pt x="246" y="276"/>
                    <a:pt x="221" y="302"/>
                    <a:pt x="190" y="302"/>
                  </a:cubicBezTo>
                  <a:close/>
                </a:path>
              </a:pathLst>
            </a:cu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4" name="îšlídè">
              <a:extLst>
                <a:ext uri="{FF2B5EF4-FFF2-40B4-BE49-F238E27FC236}">
                  <a16:creationId xmlns:a16="http://schemas.microsoft.com/office/drawing/2014/main" id="{2444FEFA-AD39-45C4-A6EB-228191BBD7AF}"/>
                </a:ext>
              </a:extLst>
            </p:cNvPr>
            <p:cNvSpPr/>
            <p:nvPr userDrawn="1"/>
          </p:nvSpPr>
          <p:spPr bwMode="auto">
            <a:xfrm>
              <a:off x="7945307" y="2708469"/>
              <a:ext cx="941361" cy="610569"/>
            </a:xfrm>
            <a:custGeom>
              <a:avLst/>
              <a:gdLst>
                <a:gd name="T0" fmla="*/ 190 w 246"/>
                <a:gd name="T1" fmla="*/ 160 h 160"/>
                <a:gd name="T2" fmla="*/ 57 w 246"/>
                <a:gd name="T3" fmla="*/ 160 h 160"/>
                <a:gd name="T4" fmla="*/ 0 w 246"/>
                <a:gd name="T5" fmla="*/ 104 h 160"/>
                <a:gd name="T6" fmla="*/ 0 w 246"/>
                <a:gd name="T7" fmla="*/ 57 h 160"/>
                <a:gd name="T8" fmla="*/ 57 w 246"/>
                <a:gd name="T9" fmla="*/ 0 h 160"/>
                <a:gd name="T10" fmla="*/ 190 w 246"/>
                <a:gd name="T11" fmla="*/ 0 h 160"/>
                <a:gd name="T12" fmla="*/ 246 w 246"/>
                <a:gd name="T13" fmla="*/ 57 h 160"/>
                <a:gd name="T14" fmla="*/ 246 w 246"/>
                <a:gd name="T15" fmla="*/ 104 h 160"/>
                <a:gd name="T16" fmla="*/ 190 w 246"/>
                <a:gd name="T17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6" h="160">
                  <a:moveTo>
                    <a:pt x="190" y="160"/>
                  </a:moveTo>
                  <a:cubicBezTo>
                    <a:pt x="57" y="160"/>
                    <a:pt x="57" y="160"/>
                    <a:pt x="57" y="160"/>
                  </a:cubicBezTo>
                  <a:cubicBezTo>
                    <a:pt x="26" y="160"/>
                    <a:pt x="0" y="135"/>
                    <a:pt x="0" y="104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26"/>
                    <a:pt x="26" y="0"/>
                    <a:pt x="57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221" y="0"/>
                    <a:pt x="246" y="26"/>
                    <a:pt x="246" y="57"/>
                  </a:cubicBezTo>
                  <a:cubicBezTo>
                    <a:pt x="246" y="104"/>
                    <a:pt x="246" y="104"/>
                    <a:pt x="246" y="104"/>
                  </a:cubicBezTo>
                  <a:cubicBezTo>
                    <a:pt x="246" y="135"/>
                    <a:pt x="221" y="160"/>
                    <a:pt x="190" y="160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5" name="ïṩḷídé">
              <a:extLst>
                <a:ext uri="{FF2B5EF4-FFF2-40B4-BE49-F238E27FC236}">
                  <a16:creationId xmlns:a16="http://schemas.microsoft.com/office/drawing/2014/main" id="{65B09B65-DD99-43BC-BC3A-DB9FF9F2ABFF}"/>
                </a:ext>
              </a:extLst>
            </p:cNvPr>
            <p:cNvSpPr/>
            <p:nvPr userDrawn="1"/>
          </p:nvSpPr>
          <p:spPr bwMode="auto">
            <a:xfrm>
              <a:off x="8007845" y="2731509"/>
              <a:ext cx="821223" cy="534865"/>
            </a:xfrm>
            <a:custGeom>
              <a:avLst/>
              <a:gdLst>
                <a:gd name="T0" fmla="*/ 169 w 215"/>
                <a:gd name="T1" fmla="*/ 140 h 140"/>
                <a:gd name="T2" fmla="*/ 45 w 215"/>
                <a:gd name="T3" fmla="*/ 140 h 140"/>
                <a:gd name="T4" fmla="*/ 0 w 215"/>
                <a:gd name="T5" fmla="*/ 95 h 140"/>
                <a:gd name="T6" fmla="*/ 0 w 215"/>
                <a:gd name="T7" fmla="*/ 46 h 140"/>
                <a:gd name="T8" fmla="*/ 45 w 215"/>
                <a:gd name="T9" fmla="*/ 0 h 140"/>
                <a:gd name="T10" fmla="*/ 169 w 215"/>
                <a:gd name="T11" fmla="*/ 0 h 140"/>
                <a:gd name="T12" fmla="*/ 215 w 215"/>
                <a:gd name="T13" fmla="*/ 46 h 140"/>
                <a:gd name="T14" fmla="*/ 215 w 215"/>
                <a:gd name="T15" fmla="*/ 95 h 140"/>
                <a:gd name="T16" fmla="*/ 169 w 215"/>
                <a:gd name="T17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5" h="140">
                  <a:moveTo>
                    <a:pt x="169" y="140"/>
                  </a:moveTo>
                  <a:cubicBezTo>
                    <a:pt x="45" y="140"/>
                    <a:pt x="45" y="140"/>
                    <a:pt x="45" y="140"/>
                  </a:cubicBezTo>
                  <a:cubicBezTo>
                    <a:pt x="20" y="140"/>
                    <a:pt x="0" y="120"/>
                    <a:pt x="0" y="95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20"/>
                    <a:pt x="20" y="0"/>
                    <a:pt x="45" y="0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94" y="0"/>
                    <a:pt x="215" y="20"/>
                    <a:pt x="215" y="46"/>
                  </a:cubicBezTo>
                  <a:cubicBezTo>
                    <a:pt x="215" y="95"/>
                    <a:pt x="215" y="95"/>
                    <a:pt x="215" y="95"/>
                  </a:cubicBezTo>
                  <a:cubicBezTo>
                    <a:pt x="215" y="120"/>
                    <a:pt x="194" y="140"/>
                    <a:pt x="169" y="140"/>
                  </a:cubicBezTo>
                  <a:close/>
                </a:path>
              </a:pathLst>
            </a:cu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6" name="íŝliḓè">
              <a:extLst>
                <a:ext uri="{FF2B5EF4-FFF2-40B4-BE49-F238E27FC236}">
                  <a16:creationId xmlns:a16="http://schemas.microsoft.com/office/drawing/2014/main" id="{48296FFD-DB04-4589-813C-2CB5475A3B01}"/>
                </a:ext>
              </a:extLst>
            </p:cNvPr>
            <p:cNvSpPr/>
            <p:nvPr userDrawn="1"/>
          </p:nvSpPr>
          <p:spPr bwMode="auto">
            <a:xfrm>
              <a:off x="7805419" y="4704747"/>
              <a:ext cx="1214553" cy="284713"/>
            </a:xfrm>
            <a:prstGeom prst="ellipse">
              <a:avLst/>
            </a:pr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7" name="ïSľíḋê">
              <a:extLst>
                <a:ext uri="{FF2B5EF4-FFF2-40B4-BE49-F238E27FC236}">
                  <a16:creationId xmlns:a16="http://schemas.microsoft.com/office/drawing/2014/main" id="{6E575278-117E-48C6-9A90-0A02E061B476}"/>
                </a:ext>
              </a:extLst>
            </p:cNvPr>
            <p:cNvSpPr/>
            <p:nvPr userDrawn="1"/>
          </p:nvSpPr>
          <p:spPr bwMode="auto">
            <a:xfrm>
              <a:off x="7945307" y="4704747"/>
              <a:ext cx="929842" cy="72412"/>
            </a:xfrm>
            <a:custGeom>
              <a:avLst/>
              <a:gdLst>
                <a:gd name="T0" fmla="*/ 0 w 243"/>
                <a:gd name="T1" fmla="*/ 14 h 19"/>
                <a:gd name="T2" fmla="*/ 122 w 243"/>
                <a:gd name="T3" fmla="*/ 19 h 19"/>
                <a:gd name="T4" fmla="*/ 243 w 243"/>
                <a:gd name="T5" fmla="*/ 14 h 19"/>
                <a:gd name="T6" fmla="*/ 122 w 243"/>
                <a:gd name="T7" fmla="*/ 0 h 19"/>
                <a:gd name="T8" fmla="*/ 0 w 243"/>
                <a:gd name="T9" fmla="*/ 1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3" h="19">
                  <a:moveTo>
                    <a:pt x="0" y="14"/>
                  </a:moveTo>
                  <a:cubicBezTo>
                    <a:pt x="30" y="17"/>
                    <a:pt x="73" y="19"/>
                    <a:pt x="122" y="19"/>
                  </a:cubicBezTo>
                  <a:cubicBezTo>
                    <a:pt x="171" y="19"/>
                    <a:pt x="214" y="17"/>
                    <a:pt x="243" y="14"/>
                  </a:cubicBezTo>
                  <a:cubicBezTo>
                    <a:pt x="214" y="6"/>
                    <a:pt x="171" y="0"/>
                    <a:pt x="122" y="0"/>
                  </a:cubicBezTo>
                  <a:cubicBezTo>
                    <a:pt x="73" y="0"/>
                    <a:pt x="30" y="6"/>
                    <a:pt x="0" y="14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8" name="íšļiḑê">
              <a:extLst>
                <a:ext uri="{FF2B5EF4-FFF2-40B4-BE49-F238E27FC236}">
                  <a16:creationId xmlns:a16="http://schemas.microsoft.com/office/drawing/2014/main" id="{A5B4C972-F81E-4A36-97F5-5CB45073B33B}"/>
                </a:ext>
              </a:extLst>
            </p:cNvPr>
            <p:cNvSpPr/>
            <p:nvPr userDrawn="1"/>
          </p:nvSpPr>
          <p:spPr bwMode="auto">
            <a:xfrm>
              <a:off x="8351804" y="4989460"/>
              <a:ext cx="113556" cy="0"/>
            </a:xfrm>
            <a:custGeom>
              <a:avLst/>
              <a:gdLst>
                <a:gd name="T0" fmla="*/ 16 w 30"/>
                <a:gd name="T1" fmla="*/ 15 w 30"/>
                <a:gd name="T2" fmla="*/ 17 w 30"/>
                <a:gd name="T3" fmla="*/ 17 w 30"/>
                <a:gd name="T4" fmla="*/ 17 w 30"/>
                <a:gd name="T5" fmla="*/ 15 w 30"/>
                <a:gd name="T6" fmla="*/ 15 w 30"/>
                <a:gd name="T7" fmla="*/ 14 w 30"/>
                <a:gd name="T8" fmla="*/ 18 w 30"/>
                <a:gd name="T9" fmla="*/ 18 w 30"/>
                <a:gd name="T10" fmla="*/ 19 w 30"/>
                <a:gd name="T11" fmla="*/ 13 w 30"/>
                <a:gd name="T12" fmla="*/ 13 w 30"/>
                <a:gd name="T13" fmla="*/ 13 w 30"/>
                <a:gd name="T14" fmla="*/ 19 w 30"/>
                <a:gd name="T15" fmla="*/ 19 w 30"/>
                <a:gd name="T16" fmla="*/ 20 w 30"/>
                <a:gd name="T17" fmla="*/ 12 w 30"/>
                <a:gd name="T18" fmla="*/ 12 w 30"/>
                <a:gd name="T19" fmla="*/ 11 w 30"/>
                <a:gd name="T20" fmla="*/ 21 w 30"/>
                <a:gd name="T21" fmla="*/ 21 w 30"/>
                <a:gd name="T22" fmla="*/ 21 w 30"/>
                <a:gd name="T23" fmla="*/ 11 w 30"/>
                <a:gd name="T24" fmla="*/ 10 w 30"/>
                <a:gd name="T25" fmla="*/ 10 w 30"/>
                <a:gd name="T26" fmla="*/ 22 w 30"/>
                <a:gd name="T27" fmla="*/ 22 w 30"/>
                <a:gd name="T28" fmla="*/ 22 w 30"/>
                <a:gd name="T29" fmla="*/ 9 w 30"/>
                <a:gd name="T30" fmla="*/ 9 w 30"/>
                <a:gd name="T31" fmla="*/ 9 w 30"/>
                <a:gd name="T32" fmla="*/ 23 w 30"/>
                <a:gd name="T33" fmla="*/ 23 w 30"/>
                <a:gd name="T34" fmla="*/ 24 w 30"/>
                <a:gd name="T35" fmla="*/ 8 w 30"/>
                <a:gd name="T36" fmla="*/ 8 w 30"/>
                <a:gd name="T37" fmla="*/ 7 w 30"/>
                <a:gd name="T38" fmla="*/ 24 w 30"/>
                <a:gd name="T39" fmla="*/ 25 w 30"/>
                <a:gd name="T40" fmla="*/ 25 w 30"/>
                <a:gd name="T41" fmla="*/ 7 w 30"/>
                <a:gd name="T42" fmla="*/ 25 w 30"/>
                <a:gd name="T43" fmla="*/ 26 w 30"/>
                <a:gd name="T44" fmla="*/ 6 w 30"/>
                <a:gd name="T45" fmla="*/ 6 w 30"/>
                <a:gd name="T46" fmla="*/ 5 w 30"/>
                <a:gd name="T47" fmla="*/ 26 w 30"/>
                <a:gd name="T48" fmla="*/ 27 w 30"/>
                <a:gd name="T49" fmla="*/ 4 w 30"/>
                <a:gd name="T50" fmla="*/ 28 w 30"/>
                <a:gd name="T51" fmla="*/ 28 w 30"/>
                <a:gd name="T52" fmla="*/ 28 w 30"/>
                <a:gd name="T53" fmla="*/ 4 w 30"/>
                <a:gd name="T54" fmla="*/ 3 w 30"/>
                <a:gd name="T55" fmla="*/ 2 w 30"/>
                <a:gd name="T56" fmla="*/ 2 w 30"/>
                <a:gd name="T57" fmla="*/ 2 w 30"/>
                <a:gd name="T58" fmla="*/ 2 w 30"/>
                <a:gd name="T59" fmla="*/ 1 w 30"/>
                <a:gd name="T60" fmla="*/ 0 w 3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  <a:cxn ang="0">
                  <a:pos x="T12" y="0"/>
                </a:cxn>
                <a:cxn ang="0">
                  <a:pos x="T13" y="0"/>
                </a:cxn>
                <a:cxn ang="0">
                  <a:pos x="T14" y="0"/>
                </a:cxn>
                <a:cxn ang="0">
                  <a:pos x="T15" y="0"/>
                </a:cxn>
                <a:cxn ang="0">
                  <a:pos x="T16" y="0"/>
                </a:cxn>
                <a:cxn ang="0">
                  <a:pos x="T17" y="0"/>
                </a:cxn>
                <a:cxn ang="0">
                  <a:pos x="T18" y="0"/>
                </a:cxn>
                <a:cxn ang="0">
                  <a:pos x="T19" y="0"/>
                </a:cxn>
                <a:cxn ang="0">
                  <a:pos x="T20" y="0"/>
                </a:cxn>
                <a:cxn ang="0">
                  <a:pos x="T21" y="0"/>
                </a:cxn>
                <a:cxn ang="0">
                  <a:pos x="T22" y="0"/>
                </a:cxn>
                <a:cxn ang="0">
                  <a:pos x="T23" y="0"/>
                </a:cxn>
                <a:cxn ang="0">
                  <a:pos x="T24" y="0"/>
                </a:cxn>
                <a:cxn ang="0">
                  <a:pos x="T25" y="0"/>
                </a:cxn>
                <a:cxn ang="0">
                  <a:pos x="T26" y="0"/>
                </a:cxn>
                <a:cxn ang="0">
                  <a:pos x="T27" y="0"/>
                </a:cxn>
                <a:cxn ang="0">
                  <a:pos x="T28" y="0"/>
                </a:cxn>
                <a:cxn ang="0">
                  <a:pos x="T29" y="0"/>
                </a:cxn>
                <a:cxn ang="0">
                  <a:pos x="T30" y="0"/>
                </a:cxn>
                <a:cxn ang="0">
                  <a:pos x="T31" y="0"/>
                </a:cxn>
                <a:cxn ang="0">
                  <a:pos x="T32" y="0"/>
                </a:cxn>
                <a:cxn ang="0">
                  <a:pos x="T33" y="0"/>
                </a:cxn>
                <a:cxn ang="0">
                  <a:pos x="T34" y="0"/>
                </a:cxn>
                <a:cxn ang="0">
                  <a:pos x="T35" y="0"/>
                </a:cxn>
                <a:cxn ang="0">
                  <a:pos x="T36" y="0"/>
                </a:cxn>
                <a:cxn ang="0">
                  <a:pos x="T37" y="0"/>
                </a:cxn>
                <a:cxn ang="0">
                  <a:pos x="T38" y="0"/>
                </a:cxn>
                <a:cxn ang="0">
                  <a:pos x="T39" y="0"/>
                </a:cxn>
                <a:cxn ang="0">
                  <a:pos x="T40" y="0"/>
                </a:cxn>
                <a:cxn ang="0">
                  <a:pos x="T41" y="0"/>
                </a:cxn>
                <a:cxn ang="0">
                  <a:pos x="T42" y="0"/>
                </a:cxn>
                <a:cxn ang="0">
                  <a:pos x="T43" y="0"/>
                </a:cxn>
                <a:cxn ang="0">
                  <a:pos x="T44" y="0"/>
                </a:cxn>
                <a:cxn ang="0">
                  <a:pos x="T45" y="0"/>
                </a:cxn>
                <a:cxn ang="0">
                  <a:pos x="T46" y="0"/>
                </a:cxn>
                <a:cxn ang="0">
                  <a:pos x="T47" y="0"/>
                </a:cxn>
                <a:cxn ang="0">
                  <a:pos x="T48" y="0"/>
                </a:cxn>
                <a:cxn ang="0">
                  <a:pos x="T49" y="0"/>
                </a:cxn>
                <a:cxn ang="0">
                  <a:pos x="T50" y="0"/>
                </a:cxn>
                <a:cxn ang="0">
                  <a:pos x="T51" y="0"/>
                </a:cxn>
                <a:cxn ang="0">
                  <a:pos x="T52" y="0"/>
                </a:cxn>
                <a:cxn ang="0">
                  <a:pos x="T53" y="0"/>
                </a:cxn>
                <a:cxn ang="0">
                  <a:pos x="T54" y="0"/>
                </a:cxn>
                <a:cxn ang="0">
                  <a:pos x="T55" y="0"/>
                </a:cxn>
                <a:cxn ang="0">
                  <a:pos x="T56" y="0"/>
                </a:cxn>
                <a:cxn ang="0">
                  <a:pos x="T57" y="0"/>
                </a:cxn>
                <a:cxn ang="0">
                  <a:pos x="T58" y="0"/>
                </a:cxn>
                <a:cxn ang="0">
                  <a:pos x="T59" y="0"/>
                </a:cxn>
                <a:cxn ang="0">
                  <a:pos x="T60" y="0"/>
                </a:cxn>
              </a:cxnLst>
              <a:rect l="0" t="0" r="r" b="b"/>
              <a:pathLst>
                <a:path w="30"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6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6" y="0"/>
                    <a:pt x="16" y="0"/>
                  </a:cubicBezTo>
                  <a:cubicBezTo>
                    <a:pt x="16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5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7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8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19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9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8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8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7" y="0"/>
                  </a:moveTo>
                  <a:cubicBezTo>
                    <a:pt x="7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25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25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5" y="0"/>
                  </a:moveTo>
                  <a:cubicBezTo>
                    <a:pt x="5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moveTo>
                    <a:pt x="27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7" y="0"/>
                    <a:pt x="27" y="0"/>
                  </a:cubicBezTo>
                  <a:cubicBezTo>
                    <a:pt x="27" y="0"/>
                    <a:pt x="27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29" y="0"/>
                  </a:moveTo>
                  <a:cubicBezTo>
                    <a:pt x="29" y="0"/>
                    <a:pt x="29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30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30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77BF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9" name="îşļiḓè">
              <a:extLst>
                <a:ext uri="{FF2B5EF4-FFF2-40B4-BE49-F238E27FC236}">
                  <a16:creationId xmlns:a16="http://schemas.microsoft.com/office/drawing/2014/main" id="{0685CCE9-4C3B-458D-B689-D4CDADB1FE43}"/>
                </a:ext>
              </a:extLst>
            </p:cNvPr>
            <p:cNvSpPr/>
            <p:nvPr userDrawn="1"/>
          </p:nvSpPr>
          <p:spPr bwMode="auto">
            <a:xfrm>
              <a:off x="7815294" y="4875903"/>
              <a:ext cx="1193159" cy="113556"/>
            </a:xfrm>
            <a:custGeom>
              <a:avLst/>
              <a:gdLst>
                <a:gd name="T0" fmla="*/ 140 w 312"/>
                <a:gd name="T1" fmla="*/ 30 h 30"/>
                <a:gd name="T2" fmla="*/ 142 w 312"/>
                <a:gd name="T3" fmla="*/ 30 h 30"/>
                <a:gd name="T4" fmla="*/ 142 w 312"/>
                <a:gd name="T5" fmla="*/ 30 h 30"/>
                <a:gd name="T6" fmla="*/ 142 w 312"/>
                <a:gd name="T7" fmla="*/ 30 h 30"/>
                <a:gd name="T8" fmla="*/ 144 w 312"/>
                <a:gd name="T9" fmla="*/ 30 h 30"/>
                <a:gd name="T10" fmla="*/ 144 w 312"/>
                <a:gd name="T11" fmla="*/ 30 h 30"/>
                <a:gd name="T12" fmla="*/ 144 w 312"/>
                <a:gd name="T13" fmla="*/ 30 h 30"/>
                <a:gd name="T14" fmla="*/ 145 w 312"/>
                <a:gd name="T15" fmla="*/ 30 h 30"/>
                <a:gd name="T16" fmla="*/ 146 w 312"/>
                <a:gd name="T17" fmla="*/ 30 h 30"/>
                <a:gd name="T18" fmla="*/ 146 w 312"/>
                <a:gd name="T19" fmla="*/ 30 h 30"/>
                <a:gd name="T20" fmla="*/ 147 w 312"/>
                <a:gd name="T21" fmla="*/ 30 h 30"/>
                <a:gd name="T22" fmla="*/ 147 w 312"/>
                <a:gd name="T23" fmla="*/ 30 h 30"/>
                <a:gd name="T24" fmla="*/ 148 w 312"/>
                <a:gd name="T25" fmla="*/ 30 h 30"/>
                <a:gd name="T26" fmla="*/ 148 w 312"/>
                <a:gd name="T27" fmla="*/ 30 h 30"/>
                <a:gd name="T28" fmla="*/ 149 w 312"/>
                <a:gd name="T29" fmla="*/ 30 h 30"/>
                <a:gd name="T30" fmla="*/ 149 w 312"/>
                <a:gd name="T31" fmla="*/ 30 h 30"/>
                <a:gd name="T32" fmla="*/ 150 w 312"/>
                <a:gd name="T33" fmla="*/ 30 h 30"/>
                <a:gd name="T34" fmla="*/ 150 w 312"/>
                <a:gd name="T35" fmla="*/ 30 h 30"/>
                <a:gd name="T36" fmla="*/ 151 w 312"/>
                <a:gd name="T37" fmla="*/ 30 h 30"/>
                <a:gd name="T38" fmla="*/ 151 w 312"/>
                <a:gd name="T39" fmla="*/ 30 h 30"/>
                <a:gd name="T40" fmla="*/ 152 w 312"/>
                <a:gd name="T41" fmla="*/ 30 h 30"/>
                <a:gd name="T42" fmla="*/ 152 w 312"/>
                <a:gd name="T43" fmla="*/ 30 h 30"/>
                <a:gd name="T44" fmla="*/ 153 w 312"/>
                <a:gd name="T45" fmla="*/ 30 h 30"/>
                <a:gd name="T46" fmla="*/ 153 w 312"/>
                <a:gd name="T47" fmla="*/ 30 h 30"/>
                <a:gd name="T48" fmla="*/ 154 w 312"/>
                <a:gd name="T49" fmla="*/ 30 h 30"/>
                <a:gd name="T50" fmla="*/ 155 w 312"/>
                <a:gd name="T51" fmla="*/ 30 h 30"/>
                <a:gd name="T52" fmla="*/ 155 w 312"/>
                <a:gd name="T53" fmla="*/ 30 h 30"/>
                <a:gd name="T54" fmla="*/ 156 w 312"/>
                <a:gd name="T55" fmla="*/ 30 h 30"/>
                <a:gd name="T56" fmla="*/ 156 w 312"/>
                <a:gd name="T57" fmla="*/ 30 h 30"/>
                <a:gd name="T58" fmla="*/ 157 w 312"/>
                <a:gd name="T59" fmla="*/ 30 h 30"/>
                <a:gd name="T60" fmla="*/ 157 w 312"/>
                <a:gd name="T61" fmla="*/ 30 h 30"/>
                <a:gd name="T62" fmla="*/ 158 w 312"/>
                <a:gd name="T63" fmla="*/ 30 h 30"/>
                <a:gd name="T64" fmla="*/ 158 w 312"/>
                <a:gd name="T65" fmla="*/ 30 h 30"/>
                <a:gd name="T66" fmla="*/ 159 w 312"/>
                <a:gd name="T67" fmla="*/ 30 h 30"/>
                <a:gd name="T68" fmla="*/ 159 w 312"/>
                <a:gd name="T69" fmla="*/ 30 h 30"/>
                <a:gd name="T70" fmla="*/ 160 w 312"/>
                <a:gd name="T71" fmla="*/ 30 h 30"/>
                <a:gd name="T72" fmla="*/ 161 w 312"/>
                <a:gd name="T73" fmla="*/ 30 h 30"/>
                <a:gd name="T74" fmla="*/ 161 w 312"/>
                <a:gd name="T75" fmla="*/ 30 h 30"/>
                <a:gd name="T76" fmla="*/ 162 w 312"/>
                <a:gd name="T77" fmla="*/ 30 h 30"/>
                <a:gd name="T78" fmla="*/ 162 w 312"/>
                <a:gd name="T79" fmla="*/ 30 h 30"/>
                <a:gd name="T80" fmla="*/ 163 w 312"/>
                <a:gd name="T81" fmla="*/ 30 h 30"/>
                <a:gd name="T82" fmla="*/ 163 w 312"/>
                <a:gd name="T83" fmla="*/ 30 h 30"/>
                <a:gd name="T84" fmla="*/ 164 w 312"/>
                <a:gd name="T85" fmla="*/ 30 h 30"/>
                <a:gd name="T86" fmla="*/ 164 w 312"/>
                <a:gd name="T87" fmla="*/ 30 h 30"/>
                <a:gd name="T88" fmla="*/ 165 w 312"/>
                <a:gd name="T89" fmla="*/ 30 h 30"/>
                <a:gd name="T90" fmla="*/ 165 w 312"/>
                <a:gd name="T91" fmla="*/ 30 h 30"/>
                <a:gd name="T92" fmla="*/ 166 w 312"/>
                <a:gd name="T93" fmla="*/ 30 h 30"/>
                <a:gd name="T94" fmla="*/ 166 w 312"/>
                <a:gd name="T95" fmla="*/ 30 h 30"/>
                <a:gd name="T96" fmla="*/ 167 w 312"/>
                <a:gd name="T97" fmla="*/ 30 h 30"/>
                <a:gd name="T98" fmla="*/ 168 w 312"/>
                <a:gd name="T99" fmla="*/ 30 h 30"/>
                <a:gd name="T100" fmla="*/ 170 w 312"/>
                <a:gd name="T101" fmla="*/ 30 h 30"/>
                <a:gd name="T102" fmla="*/ 312 w 312"/>
                <a:gd name="T10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12" h="30">
                  <a:moveTo>
                    <a:pt x="31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3" y="16"/>
                    <a:pt x="70" y="28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1" y="30"/>
                    <a:pt x="141" y="30"/>
                    <a:pt x="141" y="30"/>
                  </a:cubicBezTo>
                  <a:cubicBezTo>
                    <a:pt x="141" y="30"/>
                    <a:pt x="141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7" y="30"/>
                    <a:pt x="167" y="30"/>
                  </a:cubicBezTo>
                  <a:cubicBezTo>
                    <a:pt x="167" y="30"/>
                    <a:pt x="167" y="30"/>
                    <a:pt x="167" y="30"/>
                  </a:cubicBezTo>
                  <a:cubicBezTo>
                    <a:pt x="167" y="30"/>
                    <a:pt x="167" y="30"/>
                    <a:pt x="167" y="30"/>
                  </a:cubicBezTo>
                  <a:cubicBezTo>
                    <a:pt x="167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9" y="30"/>
                    <a:pt x="169" y="30"/>
                  </a:cubicBezTo>
                  <a:cubicBezTo>
                    <a:pt x="169" y="30"/>
                    <a:pt x="169" y="30"/>
                    <a:pt x="169" y="30"/>
                  </a:cubicBezTo>
                  <a:cubicBezTo>
                    <a:pt x="169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241" y="29"/>
                    <a:pt x="298" y="16"/>
                    <a:pt x="312" y="0"/>
                  </a:cubicBezTo>
                </a:path>
              </a:pathLst>
            </a:custGeom>
            <a:solidFill>
              <a:srgbClr val="134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0" name="ïṥḻïḋê">
              <a:extLst>
                <a:ext uri="{FF2B5EF4-FFF2-40B4-BE49-F238E27FC236}">
                  <a16:creationId xmlns:a16="http://schemas.microsoft.com/office/drawing/2014/main" id="{18BB8CCB-7A37-4305-BC22-E897B2D7218F}"/>
                </a:ext>
              </a:extLst>
            </p:cNvPr>
            <p:cNvSpPr/>
            <p:nvPr userDrawn="1"/>
          </p:nvSpPr>
          <p:spPr bwMode="auto">
            <a:xfrm>
              <a:off x="8320535" y="4150134"/>
              <a:ext cx="179386" cy="1550284"/>
            </a:xfrm>
            <a:custGeom>
              <a:avLst/>
              <a:gdLst>
                <a:gd name="T0" fmla="*/ 47 w 47"/>
                <a:gd name="T1" fmla="*/ 406 h 406"/>
                <a:gd name="T2" fmla="*/ 0 w 47"/>
                <a:gd name="T3" fmla="*/ 406 h 406"/>
                <a:gd name="T4" fmla="*/ 0 w 47"/>
                <a:gd name="T5" fmla="*/ 24 h 406"/>
                <a:gd name="T6" fmla="*/ 24 w 47"/>
                <a:gd name="T7" fmla="*/ 0 h 406"/>
                <a:gd name="T8" fmla="*/ 47 w 47"/>
                <a:gd name="T9" fmla="*/ 24 h 406"/>
                <a:gd name="T10" fmla="*/ 47 w 47"/>
                <a:gd name="T11" fmla="*/ 406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" h="406">
                  <a:moveTo>
                    <a:pt x="47" y="406"/>
                  </a:moveTo>
                  <a:cubicBezTo>
                    <a:pt x="0" y="406"/>
                    <a:pt x="0" y="406"/>
                    <a:pt x="0" y="40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7" y="11"/>
                    <a:pt x="47" y="24"/>
                  </a:cubicBezTo>
                  <a:lnTo>
                    <a:pt x="47" y="406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1" name="işḻíḓé">
              <a:extLst>
                <a:ext uri="{FF2B5EF4-FFF2-40B4-BE49-F238E27FC236}">
                  <a16:creationId xmlns:a16="http://schemas.microsoft.com/office/drawing/2014/main" id="{2932BA5A-E590-446D-B0B5-F85B86EC9928}"/>
                </a:ext>
              </a:extLst>
            </p:cNvPr>
            <p:cNvSpPr/>
            <p:nvPr userDrawn="1"/>
          </p:nvSpPr>
          <p:spPr bwMode="auto">
            <a:xfrm>
              <a:off x="8346867" y="2856585"/>
              <a:ext cx="126722" cy="1316589"/>
            </a:xfrm>
            <a:custGeom>
              <a:avLst/>
              <a:gdLst>
                <a:gd name="T0" fmla="*/ 33 w 33"/>
                <a:gd name="T1" fmla="*/ 345 h 345"/>
                <a:gd name="T2" fmla="*/ 0 w 33"/>
                <a:gd name="T3" fmla="*/ 345 h 345"/>
                <a:gd name="T4" fmla="*/ 0 w 33"/>
                <a:gd name="T5" fmla="*/ 17 h 345"/>
                <a:gd name="T6" fmla="*/ 17 w 33"/>
                <a:gd name="T7" fmla="*/ 0 h 345"/>
                <a:gd name="T8" fmla="*/ 33 w 33"/>
                <a:gd name="T9" fmla="*/ 17 h 345"/>
                <a:gd name="T10" fmla="*/ 33 w 33"/>
                <a:gd name="T11" fmla="*/ 345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345">
                  <a:moveTo>
                    <a:pt x="33" y="345"/>
                  </a:moveTo>
                  <a:cubicBezTo>
                    <a:pt x="0" y="345"/>
                    <a:pt x="0" y="345"/>
                    <a:pt x="0" y="345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6" y="0"/>
                    <a:pt x="33" y="8"/>
                    <a:pt x="33" y="17"/>
                  </a:cubicBezTo>
                  <a:lnTo>
                    <a:pt x="33" y="345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2" name="íṧḷidé">
              <a:extLst>
                <a:ext uri="{FF2B5EF4-FFF2-40B4-BE49-F238E27FC236}">
                  <a16:creationId xmlns:a16="http://schemas.microsoft.com/office/drawing/2014/main" id="{2D5B728A-3BBA-40F1-9634-ACC386604EE9}"/>
                </a:ext>
              </a:extLst>
            </p:cNvPr>
            <p:cNvSpPr/>
            <p:nvPr userDrawn="1"/>
          </p:nvSpPr>
          <p:spPr bwMode="auto">
            <a:xfrm>
              <a:off x="7675406" y="5688897"/>
              <a:ext cx="488784" cy="190905"/>
            </a:xfrm>
            <a:custGeom>
              <a:avLst/>
              <a:gdLst>
                <a:gd name="T0" fmla="*/ 128 w 128"/>
                <a:gd name="T1" fmla="*/ 0 h 50"/>
                <a:gd name="T2" fmla="*/ 66 w 128"/>
                <a:gd name="T3" fmla="*/ 0 h 50"/>
                <a:gd name="T4" fmla="*/ 0 w 128"/>
                <a:gd name="T5" fmla="*/ 50 h 50"/>
                <a:gd name="T6" fmla="*/ 128 w 128"/>
                <a:gd name="T7" fmla="*/ 50 h 50"/>
                <a:gd name="T8" fmla="*/ 128 w 128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50">
                  <a:moveTo>
                    <a:pt x="128" y="0"/>
                  </a:moveTo>
                  <a:cubicBezTo>
                    <a:pt x="66" y="0"/>
                    <a:pt x="66" y="0"/>
                    <a:pt x="66" y="0"/>
                  </a:cubicBezTo>
                  <a:cubicBezTo>
                    <a:pt x="66" y="0"/>
                    <a:pt x="0" y="6"/>
                    <a:pt x="0" y="50"/>
                  </a:cubicBezTo>
                  <a:cubicBezTo>
                    <a:pt x="128" y="50"/>
                    <a:pt x="128" y="50"/>
                    <a:pt x="128" y="50"/>
                  </a:cubicBezTo>
                  <a:lnTo>
                    <a:pt x="128" y="0"/>
                  </a:lnTo>
                  <a:close/>
                </a:path>
              </a:pathLst>
            </a:custGeom>
            <a:solidFill>
              <a:srgbClr val="331D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3" name="i$ḷîde">
              <a:extLst>
                <a:ext uri="{FF2B5EF4-FFF2-40B4-BE49-F238E27FC236}">
                  <a16:creationId xmlns:a16="http://schemas.microsoft.com/office/drawing/2014/main" id="{812BEC7E-920B-41D1-A017-5F0EA119128E}"/>
                </a:ext>
              </a:extLst>
            </p:cNvPr>
            <p:cNvSpPr/>
            <p:nvPr userDrawn="1"/>
          </p:nvSpPr>
          <p:spPr bwMode="auto">
            <a:xfrm>
              <a:off x="7556913" y="4173174"/>
              <a:ext cx="855783" cy="855783"/>
            </a:xfrm>
            <a:custGeom>
              <a:avLst/>
              <a:gdLst>
                <a:gd name="T0" fmla="*/ 222 w 224"/>
                <a:gd name="T1" fmla="*/ 209 h 224"/>
                <a:gd name="T2" fmla="*/ 85 w 224"/>
                <a:gd name="T3" fmla="*/ 193 h 224"/>
                <a:gd name="T4" fmla="*/ 49 w 224"/>
                <a:gd name="T5" fmla="*/ 22 h 224"/>
                <a:gd name="T6" fmla="*/ 85 w 224"/>
                <a:gd name="T7" fmla="*/ 11 h 224"/>
                <a:gd name="T8" fmla="*/ 42 w 224"/>
                <a:gd name="T9" fmla="*/ 0 h 224"/>
                <a:gd name="T10" fmla="*/ 0 w 224"/>
                <a:gd name="T11" fmla="*/ 11 h 224"/>
                <a:gd name="T12" fmla="*/ 31 w 224"/>
                <a:gd name="T13" fmla="*/ 21 h 224"/>
                <a:gd name="T14" fmla="*/ 79 w 224"/>
                <a:gd name="T15" fmla="*/ 207 h 224"/>
                <a:gd name="T16" fmla="*/ 200 w 224"/>
                <a:gd name="T17" fmla="*/ 224 h 224"/>
                <a:gd name="T18" fmla="*/ 224 w 224"/>
                <a:gd name="T19" fmla="*/ 224 h 224"/>
                <a:gd name="T20" fmla="*/ 222 w 224"/>
                <a:gd name="T21" fmla="*/ 209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4" h="224">
                  <a:moveTo>
                    <a:pt x="222" y="209"/>
                  </a:moveTo>
                  <a:cubicBezTo>
                    <a:pt x="221" y="209"/>
                    <a:pt x="157" y="214"/>
                    <a:pt x="85" y="193"/>
                  </a:cubicBezTo>
                  <a:cubicBezTo>
                    <a:pt x="34" y="178"/>
                    <a:pt x="41" y="72"/>
                    <a:pt x="49" y="22"/>
                  </a:cubicBezTo>
                  <a:cubicBezTo>
                    <a:pt x="69" y="21"/>
                    <a:pt x="85" y="16"/>
                    <a:pt x="85" y="11"/>
                  </a:cubicBezTo>
                  <a:cubicBezTo>
                    <a:pt x="85" y="5"/>
                    <a:pt x="66" y="0"/>
                    <a:pt x="42" y="0"/>
                  </a:cubicBezTo>
                  <a:cubicBezTo>
                    <a:pt x="19" y="0"/>
                    <a:pt x="0" y="5"/>
                    <a:pt x="0" y="11"/>
                  </a:cubicBezTo>
                  <a:cubicBezTo>
                    <a:pt x="0" y="16"/>
                    <a:pt x="13" y="20"/>
                    <a:pt x="31" y="21"/>
                  </a:cubicBezTo>
                  <a:cubicBezTo>
                    <a:pt x="25" y="61"/>
                    <a:pt x="11" y="187"/>
                    <a:pt x="79" y="207"/>
                  </a:cubicBezTo>
                  <a:cubicBezTo>
                    <a:pt x="128" y="222"/>
                    <a:pt x="174" y="224"/>
                    <a:pt x="200" y="224"/>
                  </a:cubicBezTo>
                  <a:cubicBezTo>
                    <a:pt x="214" y="224"/>
                    <a:pt x="223" y="224"/>
                    <a:pt x="224" y="224"/>
                  </a:cubicBezTo>
                  <a:lnTo>
                    <a:pt x="222" y="209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4" name="ïşḻïḓe">
              <a:extLst>
                <a:ext uri="{FF2B5EF4-FFF2-40B4-BE49-F238E27FC236}">
                  <a16:creationId xmlns:a16="http://schemas.microsoft.com/office/drawing/2014/main" id="{9B8FC791-6553-4B3F-823B-DA0CCE0AD320}"/>
                </a:ext>
              </a:extLst>
            </p:cNvPr>
            <p:cNvSpPr/>
            <p:nvPr userDrawn="1"/>
          </p:nvSpPr>
          <p:spPr bwMode="auto">
            <a:xfrm>
              <a:off x="8439028" y="4173174"/>
              <a:ext cx="852491" cy="855783"/>
            </a:xfrm>
            <a:custGeom>
              <a:avLst/>
              <a:gdLst>
                <a:gd name="T0" fmla="*/ 2 w 223"/>
                <a:gd name="T1" fmla="*/ 209 h 224"/>
                <a:gd name="T2" fmla="*/ 138 w 223"/>
                <a:gd name="T3" fmla="*/ 193 h 224"/>
                <a:gd name="T4" fmla="*/ 175 w 223"/>
                <a:gd name="T5" fmla="*/ 22 h 224"/>
                <a:gd name="T6" fmla="*/ 139 w 223"/>
                <a:gd name="T7" fmla="*/ 11 h 224"/>
                <a:gd name="T8" fmla="*/ 181 w 223"/>
                <a:gd name="T9" fmla="*/ 0 h 224"/>
                <a:gd name="T10" fmla="*/ 223 w 223"/>
                <a:gd name="T11" fmla="*/ 11 h 224"/>
                <a:gd name="T12" fmla="*/ 193 w 223"/>
                <a:gd name="T13" fmla="*/ 21 h 224"/>
                <a:gd name="T14" fmla="*/ 144 w 223"/>
                <a:gd name="T15" fmla="*/ 207 h 224"/>
                <a:gd name="T16" fmla="*/ 24 w 223"/>
                <a:gd name="T17" fmla="*/ 224 h 224"/>
                <a:gd name="T18" fmla="*/ 0 w 223"/>
                <a:gd name="T19" fmla="*/ 224 h 224"/>
                <a:gd name="T20" fmla="*/ 2 w 223"/>
                <a:gd name="T21" fmla="*/ 209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3" h="224">
                  <a:moveTo>
                    <a:pt x="2" y="209"/>
                  </a:moveTo>
                  <a:cubicBezTo>
                    <a:pt x="2" y="209"/>
                    <a:pt x="67" y="214"/>
                    <a:pt x="138" y="193"/>
                  </a:cubicBezTo>
                  <a:cubicBezTo>
                    <a:pt x="190" y="178"/>
                    <a:pt x="183" y="72"/>
                    <a:pt x="175" y="22"/>
                  </a:cubicBezTo>
                  <a:cubicBezTo>
                    <a:pt x="155" y="21"/>
                    <a:pt x="139" y="16"/>
                    <a:pt x="139" y="11"/>
                  </a:cubicBezTo>
                  <a:cubicBezTo>
                    <a:pt x="139" y="5"/>
                    <a:pt x="158" y="0"/>
                    <a:pt x="181" y="0"/>
                  </a:cubicBezTo>
                  <a:cubicBezTo>
                    <a:pt x="205" y="0"/>
                    <a:pt x="223" y="5"/>
                    <a:pt x="223" y="11"/>
                  </a:cubicBezTo>
                  <a:cubicBezTo>
                    <a:pt x="223" y="16"/>
                    <a:pt x="211" y="20"/>
                    <a:pt x="193" y="21"/>
                  </a:cubicBezTo>
                  <a:cubicBezTo>
                    <a:pt x="199" y="61"/>
                    <a:pt x="213" y="187"/>
                    <a:pt x="144" y="207"/>
                  </a:cubicBezTo>
                  <a:cubicBezTo>
                    <a:pt x="95" y="222"/>
                    <a:pt x="50" y="224"/>
                    <a:pt x="24" y="224"/>
                  </a:cubicBezTo>
                  <a:cubicBezTo>
                    <a:pt x="10" y="224"/>
                    <a:pt x="1" y="224"/>
                    <a:pt x="0" y="224"/>
                  </a:cubicBezTo>
                  <a:lnTo>
                    <a:pt x="2" y="209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5" name="iṩḻïdè">
              <a:extLst>
                <a:ext uri="{FF2B5EF4-FFF2-40B4-BE49-F238E27FC236}">
                  <a16:creationId xmlns:a16="http://schemas.microsoft.com/office/drawing/2014/main" id="{C7B961F2-0FA1-496B-BF75-1B80184F7546}"/>
                </a:ext>
              </a:extLst>
            </p:cNvPr>
            <p:cNvSpPr/>
            <p:nvPr userDrawn="1"/>
          </p:nvSpPr>
          <p:spPr bwMode="auto">
            <a:xfrm>
              <a:off x="8309014" y="5700418"/>
              <a:ext cx="207363" cy="209009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6" name="íṧḻíḋe">
              <a:extLst>
                <a:ext uri="{FF2B5EF4-FFF2-40B4-BE49-F238E27FC236}">
                  <a16:creationId xmlns:a16="http://schemas.microsoft.com/office/drawing/2014/main" id="{68EA8E57-BFE3-41B8-90C7-BAE4C2494936}"/>
                </a:ext>
              </a:extLst>
            </p:cNvPr>
            <p:cNvSpPr/>
            <p:nvPr userDrawn="1"/>
          </p:nvSpPr>
          <p:spPr bwMode="auto">
            <a:xfrm>
              <a:off x="8309014" y="4085950"/>
              <a:ext cx="207363" cy="209009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7" name="ïş1ïḓê">
              <a:extLst>
                <a:ext uri="{FF2B5EF4-FFF2-40B4-BE49-F238E27FC236}">
                  <a16:creationId xmlns:a16="http://schemas.microsoft.com/office/drawing/2014/main" id="{D0752CDE-0251-4715-B0F5-4392FFAA894B}"/>
                </a:ext>
              </a:extLst>
            </p:cNvPr>
            <p:cNvSpPr/>
            <p:nvPr userDrawn="1"/>
          </p:nvSpPr>
          <p:spPr bwMode="auto">
            <a:xfrm>
              <a:off x="7961765" y="5700418"/>
              <a:ext cx="210654" cy="209009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8" name="iṥḷïdé">
              <a:extLst>
                <a:ext uri="{FF2B5EF4-FFF2-40B4-BE49-F238E27FC236}">
                  <a16:creationId xmlns:a16="http://schemas.microsoft.com/office/drawing/2014/main" id="{F6EBCF3F-E47C-43D1-9DD6-AE7F8F37E631}"/>
                </a:ext>
              </a:extLst>
            </p:cNvPr>
            <p:cNvSpPr/>
            <p:nvPr userDrawn="1"/>
          </p:nvSpPr>
          <p:spPr bwMode="auto">
            <a:xfrm>
              <a:off x="8652974" y="5700418"/>
              <a:ext cx="210654" cy="209009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9" name="îṩľîde">
              <a:extLst>
                <a:ext uri="{FF2B5EF4-FFF2-40B4-BE49-F238E27FC236}">
                  <a16:creationId xmlns:a16="http://schemas.microsoft.com/office/drawing/2014/main" id="{6A63D590-6C4D-47BF-9141-493E199B4666}"/>
                </a:ext>
              </a:extLst>
            </p:cNvPr>
            <p:cNvSpPr/>
            <p:nvPr userDrawn="1"/>
          </p:nvSpPr>
          <p:spPr bwMode="auto">
            <a:xfrm>
              <a:off x="8095069" y="5688897"/>
              <a:ext cx="635254" cy="72412"/>
            </a:xfrm>
            <a:prstGeom prst="rect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4C152D1D-7FDA-4B90-AB7A-0D4131DCD89B}"/>
              </a:ext>
            </a:extLst>
          </p:cNvPr>
          <p:cNvSpPr/>
          <p:nvPr userDrawn="1"/>
        </p:nvSpPr>
        <p:spPr>
          <a:xfrm>
            <a:off x="0" y="4674818"/>
            <a:ext cx="12192000" cy="218318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5424440" y="2701326"/>
            <a:ext cx="5419185" cy="580635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5425556" y="3281962"/>
            <a:ext cx="5419185" cy="506225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93" name="组合 92">
            <a:extLst>
              <a:ext uri="{FF2B5EF4-FFF2-40B4-BE49-F238E27FC236}">
                <a16:creationId xmlns:a16="http://schemas.microsoft.com/office/drawing/2014/main" id="{73CB0458-96D7-47CF-9D9D-77DA477EE7F0}"/>
              </a:ext>
            </a:extLst>
          </p:cNvPr>
          <p:cNvGrpSpPr/>
          <p:nvPr userDrawn="1"/>
        </p:nvGrpSpPr>
        <p:grpSpPr>
          <a:xfrm>
            <a:off x="8700713" y="761637"/>
            <a:ext cx="3096562" cy="1915293"/>
            <a:chOff x="9312516" y="4779135"/>
            <a:chExt cx="2222733" cy="1374810"/>
          </a:xfrm>
        </p:grpSpPr>
        <p:sp>
          <p:nvSpPr>
            <p:cNvPr id="7" name="íšḷiḑe">
              <a:extLst>
                <a:ext uri="{FF2B5EF4-FFF2-40B4-BE49-F238E27FC236}">
                  <a16:creationId xmlns:a16="http://schemas.microsoft.com/office/drawing/2014/main" id="{BBF7B166-F012-4D09-959C-4D071E0F42DE}"/>
                </a:ext>
              </a:extLst>
            </p:cNvPr>
            <p:cNvSpPr/>
            <p:nvPr userDrawn="1"/>
          </p:nvSpPr>
          <p:spPr bwMode="auto">
            <a:xfrm>
              <a:off x="9916599" y="5070761"/>
              <a:ext cx="1084410" cy="1083184"/>
            </a:xfrm>
            <a:custGeom>
              <a:avLst/>
              <a:gdLst>
                <a:gd name="T0" fmla="*/ 90 w 381"/>
                <a:gd name="T1" fmla="*/ 25 h 381"/>
                <a:gd name="T2" fmla="*/ 34 w 381"/>
                <a:gd name="T3" fmla="*/ 78 h 381"/>
                <a:gd name="T4" fmla="*/ 53 w 381"/>
                <a:gd name="T5" fmla="*/ 107 h 381"/>
                <a:gd name="T6" fmla="*/ 54 w 381"/>
                <a:gd name="T7" fmla="*/ 128 h 381"/>
                <a:gd name="T8" fmla="*/ 54 w 381"/>
                <a:gd name="T9" fmla="*/ 128 h 381"/>
                <a:gd name="T10" fmla="*/ 38 w 381"/>
                <a:gd name="T11" fmla="*/ 140 h 381"/>
                <a:gd name="T12" fmla="*/ 3 w 381"/>
                <a:gd name="T13" fmla="*/ 145 h 381"/>
                <a:gd name="T14" fmla="*/ 0 w 381"/>
                <a:gd name="T15" fmla="*/ 222 h 381"/>
                <a:gd name="T16" fmla="*/ 35 w 381"/>
                <a:gd name="T17" fmla="*/ 229 h 381"/>
                <a:gd name="T18" fmla="*/ 50 w 381"/>
                <a:gd name="T19" fmla="*/ 242 h 381"/>
                <a:gd name="T20" fmla="*/ 50 w 381"/>
                <a:gd name="T21" fmla="*/ 242 h 381"/>
                <a:gd name="T22" fmla="*/ 47 w 381"/>
                <a:gd name="T23" fmla="*/ 263 h 381"/>
                <a:gd name="T24" fmla="*/ 26 w 381"/>
                <a:gd name="T25" fmla="*/ 291 h 381"/>
                <a:gd name="T26" fmla="*/ 52 w 381"/>
                <a:gd name="T27" fmla="*/ 319 h 381"/>
                <a:gd name="T28" fmla="*/ 78 w 381"/>
                <a:gd name="T29" fmla="*/ 347 h 381"/>
                <a:gd name="T30" fmla="*/ 108 w 381"/>
                <a:gd name="T31" fmla="*/ 328 h 381"/>
                <a:gd name="T32" fmla="*/ 128 w 381"/>
                <a:gd name="T33" fmla="*/ 326 h 381"/>
                <a:gd name="T34" fmla="*/ 128 w 381"/>
                <a:gd name="T35" fmla="*/ 326 h 381"/>
                <a:gd name="T36" fmla="*/ 140 w 381"/>
                <a:gd name="T37" fmla="*/ 343 h 381"/>
                <a:gd name="T38" fmla="*/ 145 w 381"/>
                <a:gd name="T39" fmla="*/ 378 h 381"/>
                <a:gd name="T40" fmla="*/ 222 w 381"/>
                <a:gd name="T41" fmla="*/ 381 h 381"/>
                <a:gd name="T42" fmla="*/ 229 w 381"/>
                <a:gd name="T43" fmla="*/ 346 h 381"/>
                <a:gd name="T44" fmla="*/ 243 w 381"/>
                <a:gd name="T45" fmla="*/ 331 h 381"/>
                <a:gd name="T46" fmla="*/ 243 w 381"/>
                <a:gd name="T47" fmla="*/ 331 h 381"/>
                <a:gd name="T48" fmla="*/ 263 w 381"/>
                <a:gd name="T49" fmla="*/ 333 h 381"/>
                <a:gd name="T50" fmla="*/ 291 w 381"/>
                <a:gd name="T51" fmla="*/ 355 h 381"/>
                <a:gd name="T52" fmla="*/ 347 w 381"/>
                <a:gd name="T53" fmla="*/ 303 h 381"/>
                <a:gd name="T54" fmla="*/ 328 w 381"/>
                <a:gd name="T55" fmla="*/ 273 h 381"/>
                <a:gd name="T56" fmla="*/ 327 w 381"/>
                <a:gd name="T57" fmla="*/ 253 h 381"/>
                <a:gd name="T58" fmla="*/ 327 w 381"/>
                <a:gd name="T59" fmla="*/ 253 h 381"/>
                <a:gd name="T60" fmla="*/ 343 w 381"/>
                <a:gd name="T61" fmla="*/ 240 h 381"/>
                <a:gd name="T62" fmla="*/ 378 w 381"/>
                <a:gd name="T63" fmla="*/ 236 h 381"/>
                <a:gd name="T64" fmla="*/ 381 w 381"/>
                <a:gd name="T65" fmla="*/ 159 h 381"/>
                <a:gd name="T66" fmla="*/ 346 w 381"/>
                <a:gd name="T67" fmla="*/ 152 h 381"/>
                <a:gd name="T68" fmla="*/ 331 w 381"/>
                <a:gd name="T69" fmla="*/ 138 h 381"/>
                <a:gd name="T70" fmla="*/ 331 w 381"/>
                <a:gd name="T71" fmla="*/ 138 h 381"/>
                <a:gd name="T72" fmla="*/ 334 w 381"/>
                <a:gd name="T73" fmla="*/ 118 h 381"/>
                <a:gd name="T74" fmla="*/ 355 w 381"/>
                <a:gd name="T75" fmla="*/ 90 h 381"/>
                <a:gd name="T76" fmla="*/ 329 w 381"/>
                <a:gd name="T77" fmla="*/ 62 h 381"/>
                <a:gd name="T78" fmla="*/ 303 w 381"/>
                <a:gd name="T79" fmla="*/ 33 h 381"/>
                <a:gd name="T80" fmla="*/ 273 w 381"/>
                <a:gd name="T81" fmla="*/ 53 h 381"/>
                <a:gd name="T82" fmla="*/ 253 w 381"/>
                <a:gd name="T83" fmla="*/ 54 h 381"/>
                <a:gd name="T84" fmla="*/ 253 w 381"/>
                <a:gd name="T85" fmla="*/ 54 h 381"/>
                <a:gd name="T86" fmla="*/ 241 w 381"/>
                <a:gd name="T87" fmla="*/ 38 h 381"/>
                <a:gd name="T88" fmla="*/ 236 w 381"/>
                <a:gd name="T89" fmla="*/ 3 h 381"/>
                <a:gd name="T90" fmla="*/ 159 w 381"/>
                <a:gd name="T91" fmla="*/ 0 h 381"/>
                <a:gd name="T92" fmla="*/ 152 w 381"/>
                <a:gd name="T93" fmla="*/ 34 h 381"/>
                <a:gd name="T94" fmla="*/ 138 w 381"/>
                <a:gd name="T95" fmla="*/ 50 h 381"/>
                <a:gd name="T96" fmla="*/ 138 w 381"/>
                <a:gd name="T97" fmla="*/ 50 h 381"/>
                <a:gd name="T98" fmla="*/ 118 w 381"/>
                <a:gd name="T99" fmla="*/ 47 h 381"/>
                <a:gd name="T100" fmla="*/ 90 w 381"/>
                <a:gd name="T101" fmla="*/ 25 h 381"/>
                <a:gd name="T102" fmla="*/ 274 w 381"/>
                <a:gd name="T103" fmla="*/ 113 h 381"/>
                <a:gd name="T104" fmla="*/ 268 w 381"/>
                <a:gd name="T105" fmla="*/ 273 h 381"/>
                <a:gd name="T106" fmla="*/ 107 w 381"/>
                <a:gd name="T107" fmla="*/ 268 h 381"/>
                <a:gd name="T108" fmla="*/ 113 w 381"/>
                <a:gd name="T109" fmla="*/ 107 h 381"/>
                <a:gd name="T110" fmla="*/ 274 w 381"/>
                <a:gd name="T111" fmla="*/ 113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81" h="381">
                  <a:moveTo>
                    <a:pt x="90" y="25"/>
                  </a:moveTo>
                  <a:cubicBezTo>
                    <a:pt x="34" y="78"/>
                    <a:pt x="34" y="78"/>
                    <a:pt x="34" y="78"/>
                  </a:cubicBezTo>
                  <a:cubicBezTo>
                    <a:pt x="53" y="107"/>
                    <a:pt x="53" y="107"/>
                    <a:pt x="53" y="107"/>
                  </a:cubicBezTo>
                  <a:cubicBezTo>
                    <a:pt x="57" y="113"/>
                    <a:pt x="57" y="121"/>
                    <a:pt x="54" y="128"/>
                  </a:cubicBezTo>
                  <a:cubicBezTo>
                    <a:pt x="54" y="128"/>
                    <a:pt x="54" y="128"/>
                    <a:pt x="54" y="128"/>
                  </a:cubicBezTo>
                  <a:cubicBezTo>
                    <a:pt x="51" y="134"/>
                    <a:pt x="45" y="139"/>
                    <a:pt x="38" y="140"/>
                  </a:cubicBezTo>
                  <a:cubicBezTo>
                    <a:pt x="3" y="145"/>
                    <a:pt x="3" y="145"/>
                    <a:pt x="3" y="145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35" y="229"/>
                    <a:pt x="35" y="229"/>
                    <a:pt x="35" y="229"/>
                  </a:cubicBezTo>
                  <a:cubicBezTo>
                    <a:pt x="42" y="230"/>
                    <a:pt x="47" y="235"/>
                    <a:pt x="50" y="242"/>
                  </a:cubicBezTo>
                  <a:cubicBezTo>
                    <a:pt x="50" y="242"/>
                    <a:pt x="50" y="242"/>
                    <a:pt x="50" y="242"/>
                  </a:cubicBezTo>
                  <a:cubicBezTo>
                    <a:pt x="53" y="249"/>
                    <a:pt x="52" y="257"/>
                    <a:pt x="47" y="263"/>
                  </a:cubicBezTo>
                  <a:cubicBezTo>
                    <a:pt x="26" y="291"/>
                    <a:pt x="26" y="291"/>
                    <a:pt x="26" y="291"/>
                  </a:cubicBezTo>
                  <a:cubicBezTo>
                    <a:pt x="52" y="319"/>
                    <a:pt x="52" y="319"/>
                    <a:pt x="52" y="319"/>
                  </a:cubicBezTo>
                  <a:cubicBezTo>
                    <a:pt x="78" y="347"/>
                    <a:pt x="78" y="347"/>
                    <a:pt x="78" y="347"/>
                  </a:cubicBezTo>
                  <a:cubicBezTo>
                    <a:pt x="108" y="328"/>
                    <a:pt x="108" y="328"/>
                    <a:pt x="108" y="328"/>
                  </a:cubicBezTo>
                  <a:cubicBezTo>
                    <a:pt x="114" y="324"/>
                    <a:pt x="121" y="323"/>
                    <a:pt x="128" y="326"/>
                  </a:cubicBezTo>
                  <a:cubicBezTo>
                    <a:pt x="128" y="326"/>
                    <a:pt x="128" y="326"/>
                    <a:pt x="128" y="326"/>
                  </a:cubicBezTo>
                  <a:cubicBezTo>
                    <a:pt x="135" y="329"/>
                    <a:pt x="139" y="335"/>
                    <a:pt x="140" y="343"/>
                  </a:cubicBezTo>
                  <a:cubicBezTo>
                    <a:pt x="145" y="378"/>
                    <a:pt x="145" y="378"/>
                    <a:pt x="145" y="378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29" y="346"/>
                    <a:pt x="229" y="346"/>
                    <a:pt x="229" y="346"/>
                  </a:cubicBezTo>
                  <a:cubicBezTo>
                    <a:pt x="231" y="339"/>
                    <a:pt x="236" y="333"/>
                    <a:pt x="243" y="331"/>
                  </a:cubicBezTo>
                  <a:cubicBezTo>
                    <a:pt x="243" y="331"/>
                    <a:pt x="243" y="331"/>
                    <a:pt x="243" y="331"/>
                  </a:cubicBezTo>
                  <a:cubicBezTo>
                    <a:pt x="250" y="328"/>
                    <a:pt x="257" y="329"/>
                    <a:pt x="263" y="333"/>
                  </a:cubicBezTo>
                  <a:cubicBezTo>
                    <a:pt x="291" y="355"/>
                    <a:pt x="291" y="355"/>
                    <a:pt x="291" y="355"/>
                  </a:cubicBezTo>
                  <a:cubicBezTo>
                    <a:pt x="347" y="303"/>
                    <a:pt x="347" y="303"/>
                    <a:pt x="347" y="303"/>
                  </a:cubicBezTo>
                  <a:cubicBezTo>
                    <a:pt x="328" y="273"/>
                    <a:pt x="328" y="273"/>
                    <a:pt x="328" y="273"/>
                  </a:cubicBezTo>
                  <a:cubicBezTo>
                    <a:pt x="324" y="267"/>
                    <a:pt x="324" y="259"/>
                    <a:pt x="327" y="253"/>
                  </a:cubicBezTo>
                  <a:cubicBezTo>
                    <a:pt x="327" y="253"/>
                    <a:pt x="327" y="253"/>
                    <a:pt x="327" y="253"/>
                  </a:cubicBezTo>
                  <a:cubicBezTo>
                    <a:pt x="330" y="246"/>
                    <a:pt x="336" y="241"/>
                    <a:pt x="343" y="240"/>
                  </a:cubicBezTo>
                  <a:cubicBezTo>
                    <a:pt x="378" y="236"/>
                    <a:pt x="378" y="236"/>
                    <a:pt x="378" y="236"/>
                  </a:cubicBezTo>
                  <a:cubicBezTo>
                    <a:pt x="381" y="159"/>
                    <a:pt x="381" y="159"/>
                    <a:pt x="381" y="159"/>
                  </a:cubicBezTo>
                  <a:cubicBezTo>
                    <a:pt x="346" y="152"/>
                    <a:pt x="346" y="152"/>
                    <a:pt x="346" y="152"/>
                  </a:cubicBezTo>
                  <a:cubicBezTo>
                    <a:pt x="339" y="150"/>
                    <a:pt x="333" y="145"/>
                    <a:pt x="331" y="138"/>
                  </a:cubicBezTo>
                  <a:cubicBezTo>
                    <a:pt x="331" y="138"/>
                    <a:pt x="331" y="138"/>
                    <a:pt x="331" y="138"/>
                  </a:cubicBezTo>
                  <a:cubicBezTo>
                    <a:pt x="328" y="131"/>
                    <a:pt x="329" y="124"/>
                    <a:pt x="334" y="118"/>
                  </a:cubicBezTo>
                  <a:cubicBezTo>
                    <a:pt x="355" y="90"/>
                    <a:pt x="355" y="90"/>
                    <a:pt x="355" y="90"/>
                  </a:cubicBezTo>
                  <a:cubicBezTo>
                    <a:pt x="329" y="62"/>
                    <a:pt x="329" y="62"/>
                    <a:pt x="329" y="62"/>
                  </a:cubicBezTo>
                  <a:cubicBezTo>
                    <a:pt x="303" y="33"/>
                    <a:pt x="303" y="33"/>
                    <a:pt x="303" y="33"/>
                  </a:cubicBezTo>
                  <a:cubicBezTo>
                    <a:pt x="273" y="53"/>
                    <a:pt x="273" y="53"/>
                    <a:pt x="273" y="53"/>
                  </a:cubicBezTo>
                  <a:cubicBezTo>
                    <a:pt x="267" y="57"/>
                    <a:pt x="260" y="57"/>
                    <a:pt x="253" y="54"/>
                  </a:cubicBezTo>
                  <a:cubicBezTo>
                    <a:pt x="253" y="54"/>
                    <a:pt x="253" y="54"/>
                    <a:pt x="253" y="54"/>
                  </a:cubicBezTo>
                  <a:cubicBezTo>
                    <a:pt x="246" y="51"/>
                    <a:pt x="242" y="45"/>
                    <a:pt x="241" y="38"/>
                  </a:cubicBezTo>
                  <a:cubicBezTo>
                    <a:pt x="236" y="3"/>
                    <a:pt x="236" y="3"/>
                    <a:pt x="236" y="3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52" y="34"/>
                    <a:pt x="152" y="34"/>
                    <a:pt x="152" y="34"/>
                  </a:cubicBezTo>
                  <a:cubicBezTo>
                    <a:pt x="150" y="42"/>
                    <a:pt x="145" y="47"/>
                    <a:pt x="138" y="50"/>
                  </a:cubicBezTo>
                  <a:cubicBezTo>
                    <a:pt x="138" y="50"/>
                    <a:pt x="138" y="50"/>
                    <a:pt x="138" y="50"/>
                  </a:cubicBezTo>
                  <a:cubicBezTo>
                    <a:pt x="131" y="52"/>
                    <a:pt x="124" y="51"/>
                    <a:pt x="118" y="47"/>
                  </a:cubicBezTo>
                  <a:lnTo>
                    <a:pt x="90" y="25"/>
                  </a:lnTo>
                  <a:close/>
                  <a:moveTo>
                    <a:pt x="274" y="113"/>
                  </a:moveTo>
                  <a:cubicBezTo>
                    <a:pt x="316" y="159"/>
                    <a:pt x="314" y="231"/>
                    <a:pt x="268" y="273"/>
                  </a:cubicBezTo>
                  <a:cubicBezTo>
                    <a:pt x="222" y="316"/>
                    <a:pt x="150" y="313"/>
                    <a:pt x="107" y="268"/>
                  </a:cubicBezTo>
                  <a:cubicBezTo>
                    <a:pt x="65" y="222"/>
                    <a:pt x="67" y="150"/>
                    <a:pt x="113" y="107"/>
                  </a:cubicBezTo>
                  <a:cubicBezTo>
                    <a:pt x="159" y="64"/>
                    <a:pt x="231" y="67"/>
                    <a:pt x="274" y="113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" name="îṩ1iḑé">
              <a:extLst>
                <a:ext uri="{FF2B5EF4-FFF2-40B4-BE49-F238E27FC236}">
                  <a16:creationId xmlns:a16="http://schemas.microsoft.com/office/drawing/2014/main" id="{BB1C054C-DB73-4138-B806-4B5EB9C7420E}"/>
                </a:ext>
              </a:extLst>
            </p:cNvPr>
            <p:cNvSpPr/>
            <p:nvPr userDrawn="1"/>
          </p:nvSpPr>
          <p:spPr bwMode="auto">
            <a:xfrm>
              <a:off x="11057374" y="5366064"/>
              <a:ext cx="477875" cy="477875"/>
            </a:xfrm>
            <a:custGeom>
              <a:avLst/>
              <a:gdLst>
                <a:gd name="T0" fmla="*/ 40 w 168"/>
                <a:gd name="T1" fmla="*/ 11 h 168"/>
                <a:gd name="T2" fmla="*/ 15 w 168"/>
                <a:gd name="T3" fmla="*/ 34 h 168"/>
                <a:gd name="T4" fmla="*/ 23 w 168"/>
                <a:gd name="T5" fmla="*/ 47 h 168"/>
                <a:gd name="T6" fmla="*/ 24 w 168"/>
                <a:gd name="T7" fmla="*/ 56 h 168"/>
                <a:gd name="T8" fmla="*/ 24 w 168"/>
                <a:gd name="T9" fmla="*/ 56 h 168"/>
                <a:gd name="T10" fmla="*/ 17 w 168"/>
                <a:gd name="T11" fmla="*/ 62 h 168"/>
                <a:gd name="T12" fmla="*/ 1 w 168"/>
                <a:gd name="T13" fmla="*/ 64 h 168"/>
                <a:gd name="T14" fmla="*/ 0 w 168"/>
                <a:gd name="T15" fmla="*/ 98 h 168"/>
                <a:gd name="T16" fmla="*/ 15 w 168"/>
                <a:gd name="T17" fmla="*/ 101 h 168"/>
                <a:gd name="T18" fmla="*/ 22 w 168"/>
                <a:gd name="T19" fmla="*/ 107 h 168"/>
                <a:gd name="T20" fmla="*/ 22 w 168"/>
                <a:gd name="T21" fmla="*/ 107 h 168"/>
                <a:gd name="T22" fmla="*/ 21 w 168"/>
                <a:gd name="T23" fmla="*/ 116 h 168"/>
                <a:gd name="T24" fmla="*/ 11 w 168"/>
                <a:gd name="T25" fmla="*/ 128 h 168"/>
                <a:gd name="T26" fmla="*/ 23 w 168"/>
                <a:gd name="T27" fmla="*/ 140 h 168"/>
                <a:gd name="T28" fmla="*/ 35 w 168"/>
                <a:gd name="T29" fmla="*/ 153 h 168"/>
                <a:gd name="T30" fmla="*/ 48 w 168"/>
                <a:gd name="T31" fmla="*/ 144 h 168"/>
                <a:gd name="T32" fmla="*/ 57 w 168"/>
                <a:gd name="T33" fmla="*/ 144 h 168"/>
                <a:gd name="T34" fmla="*/ 57 w 168"/>
                <a:gd name="T35" fmla="*/ 144 h 168"/>
                <a:gd name="T36" fmla="*/ 62 w 168"/>
                <a:gd name="T37" fmla="*/ 151 h 168"/>
                <a:gd name="T38" fmla="*/ 64 w 168"/>
                <a:gd name="T39" fmla="*/ 166 h 168"/>
                <a:gd name="T40" fmla="*/ 98 w 168"/>
                <a:gd name="T41" fmla="*/ 168 h 168"/>
                <a:gd name="T42" fmla="*/ 101 w 168"/>
                <a:gd name="T43" fmla="*/ 152 h 168"/>
                <a:gd name="T44" fmla="*/ 107 w 168"/>
                <a:gd name="T45" fmla="*/ 146 h 168"/>
                <a:gd name="T46" fmla="*/ 107 w 168"/>
                <a:gd name="T47" fmla="*/ 146 h 168"/>
                <a:gd name="T48" fmla="*/ 116 w 168"/>
                <a:gd name="T49" fmla="*/ 147 h 168"/>
                <a:gd name="T50" fmla="*/ 129 w 168"/>
                <a:gd name="T51" fmla="*/ 156 h 168"/>
                <a:gd name="T52" fmla="*/ 153 w 168"/>
                <a:gd name="T53" fmla="*/ 133 h 168"/>
                <a:gd name="T54" fmla="*/ 145 w 168"/>
                <a:gd name="T55" fmla="*/ 120 h 168"/>
                <a:gd name="T56" fmla="*/ 144 w 168"/>
                <a:gd name="T57" fmla="*/ 111 h 168"/>
                <a:gd name="T58" fmla="*/ 144 w 168"/>
                <a:gd name="T59" fmla="*/ 111 h 168"/>
                <a:gd name="T60" fmla="*/ 152 w 168"/>
                <a:gd name="T61" fmla="*/ 106 h 168"/>
                <a:gd name="T62" fmla="*/ 167 w 168"/>
                <a:gd name="T63" fmla="*/ 104 h 168"/>
                <a:gd name="T64" fmla="*/ 168 w 168"/>
                <a:gd name="T65" fmla="*/ 70 h 168"/>
                <a:gd name="T66" fmla="*/ 153 w 168"/>
                <a:gd name="T67" fmla="*/ 67 h 168"/>
                <a:gd name="T68" fmla="*/ 146 w 168"/>
                <a:gd name="T69" fmla="*/ 61 h 168"/>
                <a:gd name="T70" fmla="*/ 146 w 168"/>
                <a:gd name="T71" fmla="*/ 61 h 168"/>
                <a:gd name="T72" fmla="*/ 147 w 168"/>
                <a:gd name="T73" fmla="*/ 52 h 168"/>
                <a:gd name="T74" fmla="*/ 157 w 168"/>
                <a:gd name="T75" fmla="*/ 39 h 168"/>
                <a:gd name="T76" fmla="*/ 145 w 168"/>
                <a:gd name="T77" fmla="*/ 27 h 168"/>
                <a:gd name="T78" fmla="*/ 134 w 168"/>
                <a:gd name="T79" fmla="*/ 14 h 168"/>
                <a:gd name="T80" fmla="*/ 121 w 168"/>
                <a:gd name="T81" fmla="*/ 23 h 168"/>
                <a:gd name="T82" fmla="*/ 112 w 168"/>
                <a:gd name="T83" fmla="*/ 24 h 168"/>
                <a:gd name="T84" fmla="*/ 112 w 168"/>
                <a:gd name="T85" fmla="*/ 23 h 168"/>
                <a:gd name="T86" fmla="*/ 106 w 168"/>
                <a:gd name="T87" fmla="*/ 16 h 168"/>
                <a:gd name="T88" fmla="*/ 104 w 168"/>
                <a:gd name="T89" fmla="*/ 1 h 168"/>
                <a:gd name="T90" fmla="*/ 70 w 168"/>
                <a:gd name="T91" fmla="*/ 0 h 168"/>
                <a:gd name="T92" fmla="*/ 67 w 168"/>
                <a:gd name="T93" fmla="*/ 15 h 168"/>
                <a:gd name="T94" fmla="*/ 61 w 168"/>
                <a:gd name="T95" fmla="*/ 22 h 168"/>
                <a:gd name="T96" fmla="*/ 61 w 168"/>
                <a:gd name="T97" fmla="*/ 22 h 168"/>
                <a:gd name="T98" fmla="*/ 52 w 168"/>
                <a:gd name="T99" fmla="*/ 20 h 168"/>
                <a:gd name="T100" fmla="*/ 40 w 168"/>
                <a:gd name="T101" fmla="*/ 11 h 168"/>
                <a:gd name="T102" fmla="*/ 121 w 168"/>
                <a:gd name="T103" fmla="*/ 49 h 168"/>
                <a:gd name="T104" fmla="*/ 118 w 168"/>
                <a:gd name="T105" fmla="*/ 120 h 168"/>
                <a:gd name="T106" fmla="*/ 47 w 168"/>
                <a:gd name="T107" fmla="*/ 118 h 168"/>
                <a:gd name="T108" fmla="*/ 50 w 168"/>
                <a:gd name="T109" fmla="*/ 47 h 168"/>
                <a:gd name="T110" fmla="*/ 121 w 168"/>
                <a:gd name="T111" fmla="*/ 49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8" h="168">
                  <a:moveTo>
                    <a:pt x="40" y="11"/>
                  </a:moveTo>
                  <a:cubicBezTo>
                    <a:pt x="15" y="34"/>
                    <a:pt x="15" y="34"/>
                    <a:pt x="15" y="34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5" y="50"/>
                    <a:pt x="25" y="53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3" y="59"/>
                    <a:pt x="20" y="61"/>
                    <a:pt x="17" y="62"/>
                  </a:cubicBezTo>
                  <a:cubicBezTo>
                    <a:pt x="1" y="64"/>
                    <a:pt x="1" y="64"/>
                    <a:pt x="1" y="64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15" y="101"/>
                    <a:pt x="15" y="101"/>
                    <a:pt x="15" y="101"/>
                  </a:cubicBezTo>
                  <a:cubicBezTo>
                    <a:pt x="19" y="101"/>
                    <a:pt x="21" y="104"/>
                    <a:pt x="22" y="107"/>
                  </a:cubicBezTo>
                  <a:cubicBezTo>
                    <a:pt x="22" y="107"/>
                    <a:pt x="22" y="107"/>
                    <a:pt x="22" y="107"/>
                  </a:cubicBezTo>
                  <a:cubicBezTo>
                    <a:pt x="23" y="110"/>
                    <a:pt x="23" y="113"/>
                    <a:pt x="21" y="116"/>
                  </a:cubicBezTo>
                  <a:cubicBezTo>
                    <a:pt x="11" y="128"/>
                    <a:pt x="11" y="128"/>
                    <a:pt x="11" y="128"/>
                  </a:cubicBezTo>
                  <a:cubicBezTo>
                    <a:pt x="23" y="140"/>
                    <a:pt x="23" y="140"/>
                    <a:pt x="23" y="140"/>
                  </a:cubicBezTo>
                  <a:cubicBezTo>
                    <a:pt x="35" y="153"/>
                    <a:pt x="35" y="153"/>
                    <a:pt x="35" y="153"/>
                  </a:cubicBezTo>
                  <a:cubicBezTo>
                    <a:pt x="48" y="144"/>
                    <a:pt x="48" y="144"/>
                    <a:pt x="48" y="144"/>
                  </a:cubicBezTo>
                  <a:cubicBezTo>
                    <a:pt x="50" y="143"/>
                    <a:pt x="54" y="142"/>
                    <a:pt x="57" y="144"/>
                  </a:cubicBezTo>
                  <a:cubicBezTo>
                    <a:pt x="57" y="144"/>
                    <a:pt x="57" y="144"/>
                    <a:pt x="57" y="144"/>
                  </a:cubicBezTo>
                  <a:cubicBezTo>
                    <a:pt x="60" y="145"/>
                    <a:pt x="62" y="148"/>
                    <a:pt x="62" y="151"/>
                  </a:cubicBezTo>
                  <a:cubicBezTo>
                    <a:pt x="64" y="166"/>
                    <a:pt x="64" y="166"/>
                    <a:pt x="64" y="166"/>
                  </a:cubicBezTo>
                  <a:cubicBezTo>
                    <a:pt x="98" y="168"/>
                    <a:pt x="98" y="168"/>
                    <a:pt x="98" y="168"/>
                  </a:cubicBezTo>
                  <a:cubicBezTo>
                    <a:pt x="101" y="152"/>
                    <a:pt x="101" y="152"/>
                    <a:pt x="101" y="152"/>
                  </a:cubicBezTo>
                  <a:cubicBezTo>
                    <a:pt x="102" y="149"/>
                    <a:pt x="104" y="147"/>
                    <a:pt x="107" y="146"/>
                  </a:cubicBezTo>
                  <a:cubicBezTo>
                    <a:pt x="107" y="146"/>
                    <a:pt x="107" y="146"/>
                    <a:pt x="107" y="146"/>
                  </a:cubicBezTo>
                  <a:cubicBezTo>
                    <a:pt x="110" y="145"/>
                    <a:pt x="114" y="145"/>
                    <a:pt x="116" y="147"/>
                  </a:cubicBezTo>
                  <a:cubicBezTo>
                    <a:pt x="129" y="156"/>
                    <a:pt x="129" y="156"/>
                    <a:pt x="129" y="156"/>
                  </a:cubicBezTo>
                  <a:cubicBezTo>
                    <a:pt x="153" y="133"/>
                    <a:pt x="153" y="133"/>
                    <a:pt x="153" y="133"/>
                  </a:cubicBezTo>
                  <a:cubicBezTo>
                    <a:pt x="145" y="120"/>
                    <a:pt x="145" y="120"/>
                    <a:pt x="145" y="120"/>
                  </a:cubicBezTo>
                  <a:cubicBezTo>
                    <a:pt x="143" y="118"/>
                    <a:pt x="143" y="114"/>
                    <a:pt x="144" y="111"/>
                  </a:cubicBezTo>
                  <a:cubicBezTo>
                    <a:pt x="144" y="111"/>
                    <a:pt x="144" y="111"/>
                    <a:pt x="144" y="111"/>
                  </a:cubicBezTo>
                  <a:cubicBezTo>
                    <a:pt x="146" y="108"/>
                    <a:pt x="148" y="106"/>
                    <a:pt x="152" y="106"/>
                  </a:cubicBezTo>
                  <a:cubicBezTo>
                    <a:pt x="167" y="104"/>
                    <a:pt x="167" y="104"/>
                    <a:pt x="167" y="104"/>
                  </a:cubicBezTo>
                  <a:cubicBezTo>
                    <a:pt x="168" y="70"/>
                    <a:pt x="168" y="70"/>
                    <a:pt x="168" y="70"/>
                  </a:cubicBezTo>
                  <a:cubicBezTo>
                    <a:pt x="153" y="67"/>
                    <a:pt x="153" y="67"/>
                    <a:pt x="153" y="67"/>
                  </a:cubicBezTo>
                  <a:cubicBezTo>
                    <a:pt x="150" y="66"/>
                    <a:pt x="147" y="64"/>
                    <a:pt x="146" y="61"/>
                  </a:cubicBezTo>
                  <a:cubicBezTo>
                    <a:pt x="146" y="61"/>
                    <a:pt x="146" y="61"/>
                    <a:pt x="146" y="61"/>
                  </a:cubicBezTo>
                  <a:cubicBezTo>
                    <a:pt x="145" y="58"/>
                    <a:pt x="145" y="54"/>
                    <a:pt x="147" y="52"/>
                  </a:cubicBezTo>
                  <a:cubicBezTo>
                    <a:pt x="157" y="39"/>
                    <a:pt x="157" y="39"/>
                    <a:pt x="157" y="39"/>
                  </a:cubicBezTo>
                  <a:cubicBezTo>
                    <a:pt x="145" y="27"/>
                    <a:pt x="145" y="27"/>
                    <a:pt x="145" y="27"/>
                  </a:cubicBezTo>
                  <a:cubicBezTo>
                    <a:pt x="134" y="14"/>
                    <a:pt x="134" y="14"/>
                    <a:pt x="134" y="14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118" y="25"/>
                    <a:pt x="115" y="25"/>
                    <a:pt x="112" y="24"/>
                  </a:cubicBezTo>
                  <a:cubicBezTo>
                    <a:pt x="112" y="23"/>
                    <a:pt x="112" y="23"/>
                    <a:pt x="112" y="23"/>
                  </a:cubicBezTo>
                  <a:cubicBezTo>
                    <a:pt x="109" y="22"/>
                    <a:pt x="107" y="19"/>
                    <a:pt x="106" y="16"/>
                  </a:cubicBezTo>
                  <a:cubicBezTo>
                    <a:pt x="104" y="1"/>
                    <a:pt x="104" y="1"/>
                    <a:pt x="104" y="1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66" y="18"/>
                    <a:pt x="64" y="20"/>
                    <a:pt x="61" y="22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58" y="23"/>
                    <a:pt x="55" y="22"/>
                    <a:pt x="52" y="20"/>
                  </a:cubicBezTo>
                  <a:lnTo>
                    <a:pt x="40" y="11"/>
                  </a:lnTo>
                  <a:close/>
                  <a:moveTo>
                    <a:pt x="121" y="49"/>
                  </a:moveTo>
                  <a:cubicBezTo>
                    <a:pt x="140" y="70"/>
                    <a:pt x="139" y="102"/>
                    <a:pt x="118" y="120"/>
                  </a:cubicBezTo>
                  <a:cubicBezTo>
                    <a:pt x="98" y="139"/>
                    <a:pt x="66" y="138"/>
                    <a:pt x="47" y="118"/>
                  </a:cubicBezTo>
                  <a:cubicBezTo>
                    <a:pt x="29" y="97"/>
                    <a:pt x="30" y="66"/>
                    <a:pt x="50" y="47"/>
                  </a:cubicBezTo>
                  <a:cubicBezTo>
                    <a:pt x="70" y="28"/>
                    <a:pt x="102" y="29"/>
                    <a:pt x="121" y="49"/>
                  </a:cubicBezTo>
                  <a:close/>
                </a:path>
              </a:pathLst>
            </a:custGeom>
            <a:solidFill>
              <a:srgbClr val="E4E4EF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" name="ïṧ1îďê">
              <a:extLst>
                <a:ext uri="{FF2B5EF4-FFF2-40B4-BE49-F238E27FC236}">
                  <a16:creationId xmlns:a16="http://schemas.microsoft.com/office/drawing/2014/main" id="{16C7EFBB-8B52-4753-A58C-9737A95284BA}"/>
                </a:ext>
              </a:extLst>
            </p:cNvPr>
            <p:cNvSpPr/>
            <p:nvPr userDrawn="1"/>
          </p:nvSpPr>
          <p:spPr bwMode="auto">
            <a:xfrm>
              <a:off x="9312516" y="4779135"/>
              <a:ext cx="705785" cy="703335"/>
            </a:xfrm>
            <a:custGeom>
              <a:avLst/>
              <a:gdLst>
                <a:gd name="T0" fmla="*/ 59 w 248"/>
                <a:gd name="T1" fmla="*/ 17 h 248"/>
                <a:gd name="T2" fmla="*/ 22 w 248"/>
                <a:gd name="T3" fmla="*/ 51 h 248"/>
                <a:gd name="T4" fmla="*/ 35 w 248"/>
                <a:gd name="T5" fmla="*/ 70 h 248"/>
                <a:gd name="T6" fmla="*/ 36 w 248"/>
                <a:gd name="T7" fmla="*/ 83 h 248"/>
                <a:gd name="T8" fmla="*/ 36 w 248"/>
                <a:gd name="T9" fmla="*/ 83 h 248"/>
                <a:gd name="T10" fmla="*/ 25 w 248"/>
                <a:gd name="T11" fmla="*/ 91 h 248"/>
                <a:gd name="T12" fmla="*/ 2 w 248"/>
                <a:gd name="T13" fmla="*/ 94 h 248"/>
                <a:gd name="T14" fmla="*/ 0 w 248"/>
                <a:gd name="T15" fmla="*/ 144 h 248"/>
                <a:gd name="T16" fmla="*/ 23 w 248"/>
                <a:gd name="T17" fmla="*/ 149 h 248"/>
                <a:gd name="T18" fmla="*/ 33 w 248"/>
                <a:gd name="T19" fmla="*/ 158 h 248"/>
                <a:gd name="T20" fmla="*/ 33 w 248"/>
                <a:gd name="T21" fmla="*/ 158 h 248"/>
                <a:gd name="T22" fmla="*/ 31 w 248"/>
                <a:gd name="T23" fmla="*/ 171 h 248"/>
                <a:gd name="T24" fmla="*/ 17 w 248"/>
                <a:gd name="T25" fmla="*/ 189 h 248"/>
                <a:gd name="T26" fmla="*/ 34 w 248"/>
                <a:gd name="T27" fmla="*/ 207 h 248"/>
                <a:gd name="T28" fmla="*/ 51 w 248"/>
                <a:gd name="T29" fmla="*/ 226 h 248"/>
                <a:gd name="T30" fmla="*/ 70 w 248"/>
                <a:gd name="T31" fmla="*/ 213 h 248"/>
                <a:gd name="T32" fmla="*/ 84 w 248"/>
                <a:gd name="T33" fmla="*/ 212 h 248"/>
                <a:gd name="T34" fmla="*/ 84 w 248"/>
                <a:gd name="T35" fmla="*/ 212 h 248"/>
                <a:gd name="T36" fmla="*/ 92 w 248"/>
                <a:gd name="T37" fmla="*/ 223 h 248"/>
                <a:gd name="T38" fmla="*/ 95 w 248"/>
                <a:gd name="T39" fmla="*/ 246 h 248"/>
                <a:gd name="T40" fmla="*/ 145 w 248"/>
                <a:gd name="T41" fmla="*/ 248 h 248"/>
                <a:gd name="T42" fmla="*/ 149 w 248"/>
                <a:gd name="T43" fmla="*/ 225 h 248"/>
                <a:gd name="T44" fmla="*/ 158 w 248"/>
                <a:gd name="T45" fmla="*/ 215 h 248"/>
                <a:gd name="T46" fmla="*/ 158 w 248"/>
                <a:gd name="T47" fmla="*/ 215 h 248"/>
                <a:gd name="T48" fmla="*/ 171 w 248"/>
                <a:gd name="T49" fmla="*/ 217 h 248"/>
                <a:gd name="T50" fmla="*/ 189 w 248"/>
                <a:gd name="T51" fmla="*/ 231 h 248"/>
                <a:gd name="T52" fmla="*/ 226 w 248"/>
                <a:gd name="T53" fmla="*/ 197 h 248"/>
                <a:gd name="T54" fmla="*/ 213 w 248"/>
                <a:gd name="T55" fmla="*/ 178 h 248"/>
                <a:gd name="T56" fmla="*/ 213 w 248"/>
                <a:gd name="T57" fmla="*/ 165 h 248"/>
                <a:gd name="T58" fmla="*/ 213 w 248"/>
                <a:gd name="T59" fmla="*/ 164 h 248"/>
                <a:gd name="T60" fmla="*/ 223 w 248"/>
                <a:gd name="T61" fmla="*/ 156 h 248"/>
                <a:gd name="T62" fmla="*/ 246 w 248"/>
                <a:gd name="T63" fmla="*/ 153 h 248"/>
                <a:gd name="T64" fmla="*/ 248 w 248"/>
                <a:gd name="T65" fmla="*/ 103 h 248"/>
                <a:gd name="T66" fmla="*/ 225 w 248"/>
                <a:gd name="T67" fmla="*/ 99 h 248"/>
                <a:gd name="T68" fmla="*/ 215 w 248"/>
                <a:gd name="T69" fmla="*/ 90 h 248"/>
                <a:gd name="T70" fmla="*/ 215 w 248"/>
                <a:gd name="T71" fmla="*/ 90 h 248"/>
                <a:gd name="T72" fmla="*/ 217 w 248"/>
                <a:gd name="T73" fmla="*/ 77 h 248"/>
                <a:gd name="T74" fmla="*/ 231 w 248"/>
                <a:gd name="T75" fmla="*/ 59 h 248"/>
                <a:gd name="T76" fmla="*/ 214 w 248"/>
                <a:gd name="T77" fmla="*/ 40 h 248"/>
                <a:gd name="T78" fmla="*/ 197 w 248"/>
                <a:gd name="T79" fmla="*/ 22 h 248"/>
                <a:gd name="T80" fmla="*/ 178 w 248"/>
                <a:gd name="T81" fmla="*/ 35 h 248"/>
                <a:gd name="T82" fmla="*/ 165 w 248"/>
                <a:gd name="T83" fmla="*/ 35 h 248"/>
                <a:gd name="T84" fmla="*/ 165 w 248"/>
                <a:gd name="T85" fmla="*/ 35 h 248"/>
                <a:gd name="T86" fmla="*/ 157 w 248"/>
                <a:gd name="T87" fmla="*/ 25 h 248"/>
                <a:gd name="T88" fmla="*/ 154 w 248"/>
                <a:gd name="T89" fmla="*/ 2 h 248"/>
                <a:gd name="T90" fmla="*/ 104 w 248"/>
                <a:gd name="T91" fmla="*/ 0 h 248"/>
                <a:gd name="T92" fmla="*/ 99 w 248"/>
                <a:gd name="T93" fmla="*/ 23 h 248"/>
                <a:gd name="T94" fmla="*/ 90 w 248"/>
                <a:gd name="T95" fmla="*/ 33 h 248"/>
                <a:gd name="T96" fmla="*/ 90 w 248"/>
                <a:gd name="T97" fmla="*/ 33 h 248"/>
                <a:gd name="T98" fmla="*/ 77 w 248"/>
                <a:gd name="T99" fmla="*/ 31 h 248"/>
                <a:gd name="T100" fmla="*/ 59 w 248"/>
                <a:gd name="T101" fmla="*/ 17 h 248"/>
                <a:gd name="T102" fmla="*/ 178 w 248"/>
                <a:gd name="T103" fmla="*/ 74 h 248"/>
                <a:gd name="T104" fmla="*/ 174 w 248"/>
                <a:gd name="T105" fmla="*/ 178 h 248"/>
                <a:gd name="T106" fmla="*/ 70 w 248"/>
                <a:gd name="T107" fmla="*/ 174 h 248"/>
                <a:gd name="T108" fmla="*/ 74 w 248"/>
                <a:gd name="T109" fmla="*/ 70 h 248"/>
                <a:gd name="T110" fmla="*/ 178 w 248"/>
                <a:gd name="T111" fmla="*/ 74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48" h="248">
                  <a:moveTo>
                    <a:pt x="59" y="17"/>
                  </a:moveTo>
                  <a:cubicBezTo>
                    <a:pt x="22" y="51"/>
                    <a:pt x="22" y="51"/>
                    <a:pt x="22" y="51"/>
                  </a:cubicBezTo>
                  <a:cubicBezTo>
                    <a:pt x="35" y="70"/>
                    <a:pt x="35" y="70"/>
                    <a:pt x="35" y="70"/>
                  </a:cubicBezTo>
                  <a:cubicBezTo>
                    <a:pt x="37" y="74"/>
                    <a:pt x="38" y="79"/>
                    <a:pt x="36" y="83"/>
                  </a:cubicBezTo>
                  <a:cubicBezTo>
                    <a:pt x="36" y="83"/>
                    <a:pt x="36" y="83"/>
                    <a:pt x="36" y="83"/>
                  </a:cubicBezTo>
                  <a:cubicBezTo>
                    <a:pt x="34" y="88"/>
                    <a:pt x="30" y="91"/>
                    <a:pt x="25" y="91"/>
                  </a:cubicBezTo>
                  <a:cubicBezTo>
                    <a:pt x="2" y="94"/>
                    <a:pt x="2" y="94"/>
                    <a:pt x="2" y="9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23" y="149"/>
                    <a:pt x="23" y="149"/>
                    <a:pt x="23" y="149"/>
                  </a:cubicBezTo>
                  <a:cubicBezTo>
                    <a:pt x="28" y="150"/>
                    <a:pt x="31" y="153"/>
                    <a:pt x="33" y="158"/>
                  </a:cubicBezTo>
                  <a:cubicBezTo>
                    <a:pt x="33" y="158"/>
                    <a:pt x="33" y="158"/>
                    <a:pt x="33" y="158"/>
                  </a:cubicBezTo>
                  <a:cubicBezTo>
                    <a:pt x="35" y="162"/>
                    <a:pt x="34" y="167"/>
                    <a:pt x="31" y="171"/>
                  </a:cubicBezTo>
                  <a:cubicBezTo>
                    <a:pt x="17" y="189"/>
                    <a:pt x="17" y="189"/>
                    <a:pt x="17" y="189"/>
                  </a:cubicBezTo>
                  <a:cubicBezTo>
                    <a:pt x="34" y="207"/>
                    <a:pt x="34" y="207"/>
                    <a:pt x="34" y="207"/>
                  </a:cubicBezTo>
                  <a:cubicBezTo>
                    <a:pt x="51" y="226"/>
                    <a:pt x="51" y="226"/>
                    <a:pt x="51" y="226"/>
                  </a:cubicBezTo>
                  <a:cubicBezTo>
                    <a:pt x="70" y="213"/>
                    <a:pt x="70" y="213"/>
                    <a:pt x="70" y="213"/>
                  </a:cubicBezTo>
                  <a:cubicBezTo>
                    <a:pt x="74" y="211"/>
                    <a:pt x="79" y="210"/>
                    <a:pt x="84" y="212"/>
                  </a:cubicBezTo>
                  <a:cubicBezTo>
                    <a:pt x="84" y="212"/>
                    <a:pt x="84" y="212"/>
                    <a:pt x="84" y="212"/>
                  </a:cubicBezTo>
                  <a:cubicBezTo>
                    <a:pt x="88" y="214"/>
                    <a:pt x="91" y="218"/>
                    <a:pt x="92" y="223"/>
                  </a:cubicBezTo>
                  <a:cubicBezTo>
                    <a:pt x="95" y="246"/>
                    <a:pt x="95" y="246"/>
                    <a:pt x="95" y="246"/>
                  </a:cubicBezTo>
                  <a:cubicBezTo>
                    <a:pt x="145" y="248"/>
                    <a:pt x="145" y="248"/>
                    <a:pt x="145" y="248"/>
                  </a:cubicBezTo>
                  <a:cubicBezTo>
                    <a:pt x="149" y="225"/>
                    <a:pt x="149" y="225"/>
                    <a:pt x="149" y="225"/>
                  </a:cubicBezTo>
                  <a:cubicBezTo>
                    <a:pt x="150" y="220"/>
                    <a:pt x="154" y="217"/>
                    <a:pt x="158" y="215"/>
                  </a:cubicBezTo>
                  <a:cubicBezTo>
                    <a:pt x="158" y="215"/>
                    <a:pt x="158" y="215"/>
                    <a:pt x="158" y="215"/>
                  </a:cubicBezTo>
                  <a:cubicBezTo>
                    <a:pt x="163" y="213"/>
                    <a:pt x="167" y="214"/>
                    <a:pt x="171" y="217"/>
                  </a:cubicBezTo>
                  <a:cubicBezTo>
                    <a:pt x="189" y="231"/>
                    <a:pt x="189" y="231"/>
                    <a:pt x="189" y="231"/>
                  </a:cubicBezTo>
                  <a:cubicBezTo>
                    <a:pt x="226" y="197"/>
                    <a:pt x="226" y="197"/>
                    <a:pt x="226" y="197"/>
                  </a:cubicBezTo>
                  <a:cubicBezTo>
                    <a:pt x="213" y="178"/>
                    <a:pt x="213" y="178"/>
                    <a:pt x="213" y="178"/>
                  </a:cubicBezTo>
                  <a:cubicBezTo>
                    <a:pt x="211" y="174"/>
                    <a:pt x="211" y="169"/>
                    <a:pt x="213" y="165"/>
                  </a:cubicBezTo>
                  <a:cubicBezTo>
                    <a:pt x="213" y="164"/>
                    <a:pt x="213" y="164"/>
                    <a:pt x="213" y="164"/>
                  </a:cubicBezTo>
                  <a:cubicBezTo>
                    <a:pt x="215" y="160"/>
                    <a:pt x="219" y="157"/>
                    <a:pt x="223" y="156"/>
                  </a:cubicBezTo>
                  <a:cubicBezTo>
                    <a:pt x="246" y="153"/>
                    <a:pt x="246" y="153"/>
                    <a:pt x="246" y="153"/>
                  </a:cubicBezTo>
                  <a:cubicBezTo>
                    <a:pt x="248" y="103"/>
                    <a:pt x="248" y="103"/>
                    <a:pt x="248" y="103"/>
                  </a:cubicBezTo>
                  <a:cubicBezTo>
                    <a:pt x="225" y="99"/>
                    <a:pt x="225" y="99"/>
                    <a:pt x="225" y="99"/>
                  </a:cubicBezTo>
                  <a:cubicBezTo>
                    <a:pt x="221" y="98"/>
                    <a:pt x="217" y="94"/>
                    <a:pt x="215" y="90"/>
                  </a:cubicBezTo>
                  <a:cubicBezTo>
                    <a:pt x="215" y="90"/>
                    <a:pt x="215" y="90"/>
                    <a:pt x="215" y="90"/>
                  </a:cubicBezTo>
                  <a:cubicBezTo>
                    <a:pt x="214" y="86"/>
                    <a:pt x="214" y="81"/>
                    <a:pt x="217" y="77"/>
                  </a:cubicBezTo>
                  <a:cubicBezTo>
                    <a:pt x="231" y="59"/>
                    <a:pt x="231" y="59"/>
                    <a:pt x="231" y="59"/>
                  </a:cubicBezTo>
                  <a:cubicBezTo>
                    <a:pt x="214" y="40"/>
                    <a:pt x="214" y="40"/>
                    <a:pt x="214" y="40"/>
                  </a:cubicBezTo>
                  <a:cubicBezTo>
                    <a:pt x="197" y="22"/>
                    <a:pt x="197" y="22"/>
                    <a:pt x="197" y="22"/>
                  </a:cubicBezTo>
                  <a:cubicBezTo>
                    <a:pt x="178" y="35"/>
                    <a:pt x="178" y="35"/>
                    <a:pt x="178" y="35"/>
                  </a:cubicBezTo>
                  <a:cubicBezTo>
                    <a:pt x="174" y="37"/>
                    <a:pt x="169" y="37"/>
                    <a:pt x="165" y="35"/>
                  </a:cubicBezTo>
                  <a:cubicBezTo>
                    <a:pt x="165" y="35"/>
                    <a:pt x="165" y="35"/>
                    <a:pt x="165" y="35"/>
                  </a:cubicBezTo>
                  <a:cubicBezTo>
                    <a:pt x="160" y="33"/>
                    <a:pt x="157" y="30"/>
                    <a:pt x="157" y="25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99" y="23"/>
                    <a:pt x="99" y="23"/>
                    <a:pt x="99" y="23"/>
                  </a:cubicBezTo>
                  <a:cubicBezTo>
                    <a:pt x="98" y="27"/>
                    <a:pt x="95" y="31"/>
                    <a:pt x="90" y="33"/>
                  </a:cubicBezTo>
                  <a:cubicBezTo>
                    <a:pt x="90" y="33"/>
                    <a:pt x="90" y="33"/>
                    <a:pt x="90" y="33"/>
                  </a:cubicBezTo>
                  <a:cubicBezTo>
                    <a:pt x="86" y="34"/>
                    <a:pt x="81" y="34"/>
                    <a:pt x="77" y="31"/>
                  </a:cubicBezTo>
                  <a:lnTo>
                    <a:pt x="59" y="17"/>
                  </a:lnTo>
                  <a:close/>
                  <a:moveTo>
                    <a:pt x="178" y="74"/>
                  </a:moveTo>
                  <a:cubicBezTo>
                    <a:pt x="206" y="104"/>
                    <a:pt x="204" y="150"/>
                    <a:pt x="174" y="178"/>
                  </a:cubicBezTo>
                  <a:cubicBezTo>
                    <a:pt x="145" y="206"/>
                    <a:pt x="98" y="204"/>
                    <a:pt x="70" y="174"/>
                  </a:cubicBezTo>
                  <a:cubicBezTo>
                    <a:pt x="42" y="144"/>
                    <a:pt x="44" y="98"/>
                    <a:pt x="74" y="70"/>
                  </a:cubicBezTo>
                  <a:cubicBezTo>
                    <a:pt x="104" y="42"/>
                    <a:pt x="151" y="44"/>
                    <a:pt x="178" y="74"/>
                  </a:cubicBezTo>
                  <a:close/>
                </a:path>
              </a:pathLst>
            </a:custGeom>
            <a:solidFill>
              <a:srgbClr val="E4E4EF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</p:grpSp>
      <p:grpSp>
        <p:nvGrpSpPr>
          <p:cNvPr id="3" name="组合 2">
            <a:extLst>
              <a:ext uri="{FF2B5EF4-FFF2-40B4-BE49-F238E27FC236}">
                <a16:creationId xmlns:a16="http://schemas.microsoft.com/office/drawing/2014/main" id="{B0875522-35FC-4DA1-B665-D5DB5E42C0E0}"/>
              </a:ext>
            </a:extLst>
          </p:cNvPr>
          <p:cNvGrpSpPr/>
          <p:nvPr userDrawn="1"/>
        </p:nvGrpSpPr>
        <p:grpSpPr>
          <a:xfrm>
            <a:off x="1589080" y="2450591"/>
            <a:ext cx="4506920" cy="3655809"/>
            <a:chOff x="1550010" y="2249015"/>
            <a:chExt cx="3756836" cy="3047375"/>
          </a:xfrm>
        </p:grpSpPr>
        <p:sp>
          <p:nvSpPr>
            <p:cNvPr id="5" name="îṣḷïde">
              <a:extLst>
                <a:ext uri="{FF2B5EF4-FFF2-40B4-BE49-F238E27FC236}">
                  <a16:creationId xmlns:a16="http://schemas.microsoft.com/office/drawing/2014/main" id="{BED1DF99-7A96-4F7F-A74F-51B366972BBE}"/>
                </a:ext>
              </a:extLst>
            </p:cNvPr>
            <p:cNvSpPr/>
            <p:nvPr userDrawn="1"/>
          </p:nvSpPr>
          <p:spPr bwMode="auto">
            <a:xfrm>
              <a:off x="1812229" y="2882506"/>
              <a:ext cx="482777" cy="1135873"/>
            </a:xfrm>
            <a:custGeom>
              <a:avLst/>
              <a:gdLst>
                <a:gd name="T0" fmla="*/ 65 w 394"/>
                <a:gd name="T1" fmla="*/ 927 h 927"/>
                <a:gd name="T2" fmla="*/ 394 w 394"/>
                <a:gd name="T3" fmla="*/ 153 h 927"/>
                <a:gd name="T4" fmla="*/ 394 w 394"/>
                <a:gd name="T5" fmla="*/ 0 h 927"/>
                <a:gd name="T6" fmla="*/ 0 w 394"/>
                <a:gd name="T7" fmla="*/ 927 h 927"/>
                <a:gd name="T8" fmla="*/ 65 w 394"/>
                <a:gd name="T9" fmla="*/ 927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4" h="927">
                  <a:moveTo>
                    <a:pt x="65" y="927"/>
                  </a:moveTo>
                  <a:lnTo>
                    <a:pt x="394" y="153"/>
                  </a:lnTo>
                  <a:lnTo>
                    <a:pt x="394" y="0"/>
                  </a:lnTo>
                  <a:lnTo>
                    <a:pt x="0" y="927"/>
                  </a:lnTo>
                  <a:lnTo>
                    <a:pt x="65" y="927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" name="ïšḻíḍê">
              <a:extLst>
                <a:ext uri="{FF2B5EF4-FFF2-40B4-BE49-F238E27FC236}">
                  <a16:creationId xmlns:a16="http://schemas.microsoft.com/office/drawing/2014/main" id="{F2FB9165-B44D-49A5-8EE3-8C1F5AEB10AC}"/>
                </a:ext>
              </a:extLst>
            </p:cNvPr>
            <p:cNvSpPr/>
            <p:nvPr userDrawn="1"/>
          </p:nvSpPr>
          <p:spPr bwMode="auto">
            <a:xfrm>
              <a:off x="2215360" y="2882506"/>
              <a:ext cx="79646" cy="189925"/>
            </a:xfrm>
            <a:custGeom>
              <a:avLst/>
              <a:gdLst>
                <a:gd name="T0" fmla="*/ 19 w 65"/>
                <a:gd name="T1" fmla="*/ 143 h 155"/>
                <a:gd name="T2" fmla="*/ 65 w 65"/>
                <a:gd name="T3" fmla="*/ 153 h 155"/>
                <a:gd name="T4" fmla="*/ 65 w 65"/>
                <a:gd name="T5" fmla="*/ 0 h 155"/>
                <a:gd name="T6" fmla="*/ 10 w 65"/>
                <a:gd name="T7" fmla="*/ 132 h 155"/>
                <a:gd name="T8" fmla="*/ 0 w 65"/>
                <a:gd name="T9" fmla="*/ 155 h 155"/>
                <a:gd name="T10" fmla="*/ 19 w 65"/>
                <a:gd name="T11" fmla="*/ 143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155">
                  <a:moveTo>
                    <a:pt x="19" y="143"/>
                  </a:moveTo>
                  <a:lnTo>
                    <a:pt x="65" y="153"/>
                  </a:lnTo>
                  <a:lnTo>
                    <a:pt x="65" y="0"/>
                  </a:lnTo>
                  <a:lnTo>
                    <a:pt x="10" y="132"/>
                  </a:lnTo>
                  <a:lnTo>
                    <a:pt x="0" y="155"/>
                  </a:lnTo>
                  <a:lnTo>
                    <a:pt x="19" y="143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" name="íşlïďê">
              <a:extLst>
                <a:ext uri="{FF2B5EF4-FFF2-40B4-BE49-F238E27FC236}">
                  <a16:creationId xmlns:a16="http://schemas.microsoft.com/office/drawing/2014/main" id="{EF4DD151-9136-4644-977B-B301244A42EC}"/>
                </a:ext>
              </a:extLst>
            </p:cNvPr>
            <p:cNvSpPr/>
            <p:nvPr userDrawn="1"/>
          </p:nvSpPr>
          <p:spPr bwMode="auto">
            <a:xfrm>
              <a:off x="1550010" y="4018379"/>
              <a:ext cx="3756836" cy="96801"/>
            </a:xfrm>
            <a:custGeom>
              <a:avLst/>
              <a:gdLst>
                <a:gd name="T0" fmla="*/ 17 w 1320"/>
                <a:gd name="T1" fmla="*/ 34 h 34"/>
                <a:gd name="T2" fmla="*/ 1303 w 1320"/>
                <a:gd name="T3" fmla="*/ 34 h 34"/>
                <a:gd name="T4" fmla="*/ 1320 w 1320"/>
                <a:gd name="T5" fmla="*/ 17 h 34"/>
                <a:gd name="T6" fmla="*/ 1303 w 1320"/>
                <a:gd name="T7" fmla="*/ 0 h 34"/>
                <a:gd name="T8" fmla="*/ 17 w 1320"/>
                <a:gd name="T9" fmla="*/ 0 h 34"/>
                <a:gd name="T10" fmla="*/ 0 w 1320"/>
                <a:gd name="T11" fmla="*/ 17 h 34"/>
                <a:gd name="T12" fmla="*/ 17 w 1320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20" h="34">
                  <a:moveTo>
                    <a:pt x="17" y="34"/>
                  </a:moveTo>
                  <a:cubicBezTo>
                    <a:pt x="1303" y="34"/>
                    <a:pt x="1303" y="34"/>
                    <a:pt x="1303" y="34"/>
                  </a:cubicBezTo>
                  <a:cubicBezTo>
                    <a:pt x="1313" y="34"/>
                    <a:pt x="1320" y="27"/>
                    <a:pt x="1320" y="17"/>
                  </a:cubicBezTo>
                  <a:cubicBezTo>
                    <a:pt x="1320" y="8"/>
                    <a:pt x="1313" y="0"/>
                    <a:pt x="1303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7" y="0"/>
                    <a:pt x="0" y="8"/>
                    <a:pt x="0" y="17"/>
                  </a:cubicBezTo>
                  <a:cubicBezTo>
                    <a:pt x="0" y="27"/>
                    <a:pt x="7" y="34"/>
                    <a:pt x="17" y="34"/>
                  </a:cubicBezTo>
                  <a:close/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" name="íśḷïdè">
              <a:extLst>
                <a:ext uri="{FF2B5EF4-FFF2-40B4-BE49-F238E27FC236}">
                  <a16:creationId xmlns:a16="http://schemas.microsoft.com/office/drawing/2014/main" id="{EE22E615-34E2-416D-B8D3-1D65A18F994A}"/>
                </a:ext>
              </a:extLst>
            </p:cNvPr>
            <p:cNvSpPr/>
            <p:nvPr userDrawn="1"/>
          </p:nvSpPr>
          <p:spPr bwMode="auto">
            <a:xfrm>
              <a:off x="1552460" y="4086998"/>
              <a:ext cx="3750710" cy="28182"/>
            </a:xfrm>
            <a:custGeom>
              <a:avLst/>
              <a:gdLst>
                <a:gd name="T0" fmla="*/ 0 w 1318"/>
                <a:gd name="T1" fmla="*/ 0 h 10"/>
                <a:gd name="T2" fmla="*/ 16 w 1318"/>
                <a:gd name="T3" fmla="*/ 10 h 10"/>
                <a:gd name="T4" fmla="*/ 1302 w 1318"/>
                <a:gd name="T5" fmla="*/ 10 h 10"/>
                <a:gd name="T6" fmla="*/ 1318 w 1318"/>
                <a:gd name="T7" fmla="*/ 0 h 10"/>
                <a:gd name="T8" fmla="*/ 0 w 1318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18" h="10">
                  <a:moveTo>
                    <a:pt x="0" y="0"/>
                  </a:moveTo>
                  <a:cubicBezTo>
                    <a:pt x="3" y="6"/>
                    <a:pt x="9" y="10"/>
                    <a:pt x="16" y="10"/>
                  </a:cubicBezTo>
                  <a:cubicBezTo>
                    <a:pt x="1302" y="10"/>
                    <a:pt x="1302" y="10"/>
                    <a:pt x="1302" y="10"/>
                  </a:cubicBezTo>
                  <a:cubicBezTo>
                    <a:pt x="1309" y="10"/>
                    <a:pt x="1315" y="6"/>
                    <a:pt x="1318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" name="îṥlïḋê">
              <a:extLst>
                <a:ext uri="{FF2B5EF4-FFF2-40B4-BE49-F238E27FC236}">
                  <a16:creationId xmlns:a16="http://schemas.microsoft.com/office/drawing/2014/main" id="{315A3D9D-1102-48B0-A564-E74F7009667E}"/>
                </a:ext>
              </a:extLst>
            </p:cNvPr>
            <p:cNvSpPr/>
            <p:nvPr userDrawn="1"/>
          </p:nvSpPr>
          <p:spPr bwMode="auto">
            <a:xfrm>
              <a:off x="2677305" y="3966915"/>
              <a:ext cx="1357656" cy="51464"/>
            </a:xfrm>
            <a:prstGeom prst="rect">
              <a:avLst/>
            </a:prstGeom>
            <a:solidFill>
              <a:srgbClr val="C5C4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" name="îṣľíḑê">
              <a:extLst>
                <a:ext uri="{FF2B5EF4-FFF2-40B4-BE49-F238E27FC236}">
                  <a16:creationId xmlns:a16="http://schemas.microsoft.com/office/drawing/2014/main" id="{078083A2-DB7F-42B5-B496-2A6C2E587A08}"/>
                </a:ext>
              </a:extLst>
            </p:cNvPr>
            <p:cNvSpPr/>
            <p:nvPr userDrawn="1"/>
          </p:nvSpPr>
          <p:spPr bwMode="auto">
            <a:xfrm>
              <a:off x="2815767" y="3966915"/>
              <a:ext cx="1357656" cy="51464"/>
            </a:xfrm>
            <a:prstGeom prst="rect">
              <a:avLst/>
            </a:prstGeom>
            <a:solidFill>
              <a:srgbClr val="A5A5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" name="iṩ1idè">
              <a:extLst>
                <a:ext uri="{FF2B5EF4-FFF2-40B4-BE49-F238E27FC236}">
                  <a16:creationId xmlns:a16="http://schemas.microsoft.com/office/drawing/2014/main" id="{925A7F4F-9393-4A6E-AB5E-A72DC0C5DEB3}"/>
                </a:ext>
              </a:extLst>
            </p:cNvPr>
            <p:cNvSpPr/>
            <p:nvPr userDrawn="1"/>
          </p:nvSpPr>
          <p:spPr bwMode="auto">
            <a:xfrm>
              <a:off x="2344018" y="2294351"/>
              <a:ext cx="2179848" cy="1360107"/>
            </a:xfrm>
            <a:custGeom>
              <a:avLst/>
              <a:gdLst>
                <a:gd name="T0" fmla="*/ 738 w 766"/>
                <a:gd name="T1" fmla="*/ 479 h 479"/>
                <a:gd name="T2" fmla="*/ 28 w 766"/>
                <a:gd name="T3" fmla="*/ 479 h 479"/>
                <a:gd name="T4" fmla="*/ 0 w 766"/>
                <a:gd name="T5" fmla="*/ 451 h 479"/>
                <a:gd name="T6" fmla="*/ 0 w 766"/>
                <a:gd name="T7" fmla="*/ 28 h 479"/>
                <a:gd name="T8" fmla="*/ 28 w 766"/>
                <a:gd name="T9" fmla="*/ 0 h 479"/>
                <a:gd name="T10" fmla="*/ 738 w 766"/>
                <a:gd name="T11" fmla="*/ 0 h 479"/>
                <a:gd name="T12" fmla="*/ 766 w 766"/>
                <a:gd name="T13" fmla="*/ 28 h 479"/>
                <a:gd name="T14" fmla="*/ 766 w 766"/>
                <a:gd name="T15" fmla="*/ 451 h 479"/>
                <a:gd name="T16" fmla="*/ 738 w 766"/>
                <a:gd name="T17" fmla="*/ 479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6" h="479">
                  <a:moveTo>
                    <a:pt x="738" y="479"/>
                  </a:moveTo>
                  <a:cubicBezTo>
                    <a:pt x="28" y="479"/>
                    <a:pt x="28" y="479"/>
                    <a:pt x="28" y="479"/>
                  </a:cubicBezTo>
                  <a:cubicBezTo>
                    <a:pt x="12" y="479"/>
                    <a:pt x="0" y="467"/>
                    <a:pt x="0" y="451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2" y="0"/>
                    <a:pt x="28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53" y="0"/>
                    <a:pt x="766" y="13"/>
                    <a:pt x="766" y="28"/>
                  </a:cubicBezTo>
                  <a:cubicBezTo>
                    <a:pt x="766" y="451"/>
                    <a:pt x="766" y="451"/>
                    <a:pt x="766" y="451"/>
                  </a:cubicBezTo>
                  <a:cubicBezTo>
                    <a:pt x="766" y="467"/>
                    <a:pt x="753" y="479"/>
                    <a:pt x="738" y="479"/>
                  </a:cubicBezTo>
                </a:path>
              </a:pathLst>
            </a:custGeom>
            <a:solidFill>
              <a:srgbClr val="3E4766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" name="ïŝḻïḓè">
              <a:extLst>
                <a:ext uri="{FF2B5EF4-FFF2-40B4-BE49-F238E27FC236}">
                  <a16:creationId xmlns:a16="http://schemas.microsoft.com/office/drawing/2014/main" id="{D8BFD442-D594-48CD-BFD9-27A76F60FD25}"/>
                </a:ext>
              </a:extLst>
            </p:cNvPr>
            <p:cNvSpPr/>
            <p:nvPr userDrawn="1"/>
          </p:nvSpPr>
          <p:spPr bwMode="auto">
            <a:xfrm>
              <a:off x="2344018" y="2294351"/>
              <a:ext cx="2179848" cy="142137"/>
            </a:xfrm>
            <a:custGeom>
              <a:avLst/>
              <a:gdLst>
                <a:gd name="T0" fmla="*/ 766 w 766"/>
                <a:gd name="T1" fmla="*/ 50 h 50"/>
                <a:gd name="T2" fmla="*/ 766 w 766"/>
                <a:gd name="T3" fmla="*/ 26 h 50"/>
                <a:gd name="T4" fmla="*/ 740 w 766"/>
                <a:gd name="T5" fmla="*/ 0 h 50"/>
                <a:gd name="T6" fmla="*/ 25 w 766"/>
                <a:gd name="T7" fmla="*/ 0 h 50"/>
                <a:gd name="T8" fmla="*/ 0 w 766"/>
                <a:gd name="T9" fmla="*/ 26 h 50"/>
                <a:gd name="T10" fmla="*/ 0 w 766"/>
                <a:gd name="T11" fmla="*/ 50 h 50"/>
                <a:gd name="T12" fmla="*/ 766 w 766"/>
                <a:gd name="T1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6" h="50">
                  <a:moveTo>
                    <a:pt x="766" y="50"/>
                  </a:moveTo>
                  <a:cubicBezTo>
                    <a:pt x="766" y="26"/>
                    <a:pt x="766" y="26"/>
                    <a:pt x="766" y="26"/>
                  </a:cubicBezTo>
                  <a:cubicBezTo>
                    <a:pt x="766" y="12"/>
                    <a:pt x="754" y="0"/>
                    <a:pt x="740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2"/>
                    <a:pt x="0" y="26"/>
                  </a:cubicBezTo>
                  <a:cubicBezTo>
                    <a:pt x="0" y="50"/>
                    <a:pt x="0" y="50"/>
                    <a:pt x="0" y="50"/>
                  </a:cubicBezTo>
                  <a:lnTo>
                    <a:pt x="766" y="50"/>
                  </a:lnTo>
                  <a:close/>
                </a:path>
              </a:pathLst>
            </a:custGeom>
            <a:solidFill>
              <a:srgbClr val="A7A6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" name="íṧľîḑe">
              <a:extLst>
                <a:ext uri="{FF2B5EF4-FFF2-40B4-BE49-F238E27FC236}">
                  <a16:creationId xmlns:a16="http://schemas.microsoft.com/office/drawing/2014/main" id="{D6EB4CD3-AFB2-40B4-BF20-EB2838BD74C1}"/>
                </a:ext>
              </a:extLst>
            </p:cNvPr>
            <p:cNvSpPr/>
            <p:nvPr userDrawn="1"/>
          </p:nvSpPr>
          <p:spPr bwMode="auto">
            <a:xfrm>
              <a:off x="3604874" y="2992784"/>
              <a:ext cx="301429" cy="51464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" name="ísļídè">
              <a:extLst>
                <a:ext uri="{FF2B5EF4-FFF2-40B4-BE49-F238E27FC236}">
                  <a16:creationId xmlns:a16="http://schemas.microsoft.com/office/drawing/2014/main" id="{E324133B-E87D-425B-A318-CC5D87EDABD6}"/>
                </a:ext>
              </a:extLst>
            </p:cNvPr>
            <p:cNvSpPr/>
            <p:nvPr userDrawn="1"/>
          </p:nvSpPr>
          <p:spPr bwMode="auto">
            <a:xfrm>
              <a:off x="3604874" y="3092036"/>
              <a:ext cx="374948" cy="51464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" name="îSlíḑè">
              <a:extLst>
                <a:ext uri="{FF2B5EF4-FFF2-40B4-BE49-F238E27FC236}">
                  <a16:creationId xmlns:a16="http://schemas.microsoft.com/office/drawing/2014/main" id="{B2D0AA01-C38D-452E-ACBD-0568883C121C}"/>
                </a:ext>
              </a:extLst>
            </p:cNvPr>
            <p:cNvSpPr/>
            <p:nvPr userDrawn="1"/>
          </p:nvSpPr>
          <p:spPr bwMode="auto">
            <a:xfrm>
              <a:off x="4017808" y="3092036"/>
              <a:ext cx="185024" cy="51464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" name="ïslíďê">
              <a:extLst>
                <a:ext uri="{FF2B5EF4-FFF2-40B4-BE49-F238E27FC236}">
                  <a16:creationId xmlns:a16="http://schemas.microsoft.com/office/drawing/2014/main" id="{FCE60FEC-D87E-4560-A5D3-E0F0760BF388}"/>
                </a:ext>
              </a:extLst>
            </p:cNvPr>
            <p:cNvSpPr/>
            <p:nvPr userDrawn="1"/>
          </p:nvSpPr>
          <p:spPr bwMode="auto">
            <a:xfrm>
              <a:off x="3604874" y="3191287"/>
              <a:ext cx="148265" cy="51464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" name="íṥļïďé">
              <a:extLst>
                <a:ext uri="{FF2B5EF4-FFF2-40B4-BE49-F238E27FC236}">
                  <a16:creationId xmlns:a16="http://schemas.microsoft.com/office/drawing/2014/main" id="{CD187B4A-8793-4B98-B3FF-0D759A860AA6}"/>
                </a:ext>
              </a:extLst>
            </p:cNvPr>
            <p:cNvSpPr/>
            <p:nvPr userDrawn="1"/>
          </p:nvSpPr>
          <p:spPr bwMode="auto">
            <a:xfrm>
              <a:off x="3803377" y="3191287"/>
              <a:ext cx="552621" cy="51464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" name="ïṧḻiďê">
              <a:extLst>
                <a:ext uri="{FF2B5EF4-FFF2-40B4-BE49-F238E27FC236}">
                  <a16:creationId xmlns:a16="http://schemas.microsoft.com/office/drawing/2014/main" id="{6B165554-4AD0-44E9-AD3A-E4A5D098812C}"/>
                </a:ext>
              </a:extLst>
            </p:cNvPr>
            <p:cNvSpPr/>
            <p:nvPr userDrawn="1"/>
          </p:nvSpPr>
          <p:spPr bwMode="auto">
            <a:xfrm>
              <a:off x="3803377" y="3191287"/>
              <a:ext cx="552621" cy="51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" name="îṩḻiḓê">
              <a:extLst>
                <a:ext uri="{FF2B5EF4-FFF2-40B4-BE49-F238E27FC236}">
                  <a16:creationId xmlns:a16="http://schemas.microsoft.com/office/drawing/2014/main" id="{3250146E-631A-4625-B9E1-864B92989FE5}"/>
                </a:ext>
              </a:extLst>
            </p:cNvPr>
            <p:cNvSpPr/>
            <p:nvPr userDrawn="1"/>
          </p:nvSpPr>
          <p:spPr bwMode="auto">
            <a:xfrm>
              <a:off x="3974922" y="2992784"/>
              <a:ext cx="172770" cy="51464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" name="îŝ1îḍê">
              <a:extLst>
                <a:ext uri="{FF2B5EF4-FFF2-40B4-BE49-F238E27FC236}">
                  <a16:creationId xmlns:a16="http://schemas.microsoft.com/office/drawing/2014/main" id="{18E97B02-E3C2-48C4-8BE8-5C32C2AAC097}"/>
                </a:ext>
              </a:extLst>
            </p:cNvPr>
            <p:cNvSpPr/>
            <p:nvPr userDrawn="1"/>
          </p:nvSpPr>
          <p:spPr bwMode="auto">
            <a:xfrm>
              <a:off x="3604874" y="2523487"/>
              <a:ext cx="301429" cy="51464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" name="iṩ1îďé">
              <a:extLst>
                <a:ext uri="{FF2B5EF4-FFF2-40B4-BE49-F238E27FC236}">
                  <a16:creationId xmlns:a16="http://schemas.microsoft.com/office/drawing/2014/main" id="{347CD443-7B9F-4360-8866-630189E1B829}"/>
                </a:ext>
              </a:extLst>
            </p:cNvPr>
            <p:cNvSpPr/>
            <p:nvPr userDrawn="1"/>
          </p:nvSpPr>
          <p:spPr bwMode="auto">
            <a:xfrm>
              <a:off x="3604874" y="2623963"/>
              <a:ext cx="374948" cy="50239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" name="iSḻíḍe">
              <a:extLst>
                <a:ext uri="{FF2B5EF4-FFF2-40B4-BE49-F238E27FC236}">
                  <a16:creationId xmlns:a16="http://schemas.microsoft.com/office/drawing/2014/main" id="{933E7EAD-C07E-412A-8881-4254EEE337DF}"/>
                </a:ext>
              </a:extLst>
            </p:cNvPr>
            <p:cNvSpPr/>
            <p:nvPr userDrawn="1"/>
          </p:nvSpPr>
          <p:spPr bwMode="auto">
            <a:xfrm>
              <a:off x="4017808" y="2623963"/>
              <a:ext cx="185024" cy="50239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" name="íṥ1iḍè">
              <a:extLst>
                <a:ext uri="{FF2B5EF4-FFF2-40B4-BE49-F238E27FC236}">
                  <a16:creationId xmlns:a16="http://schemas.microsoft.com/office/drawing/2014/main" id="{9986CB17-3DB9-4127-A651-13236C8EF54E}"/>
                </a:ext>
              </a:extLst>
            </p:cNvPr>
            <p:cNvSpPr/>
            <p:nvPr userDrawn="1"/>
          </p:nvSpPr>
          <p:spPr bwMode="auto">
            <a:xfrm>
              <a:off x="3604874" y="2723214"/>
              <a:ext cx="148265" cy="50239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" name="íṡ1íḓe">
              <a:extLst>
                <a:ext uri="{FF2B5EF4-FFF2-40B4-BE49-F238E27FC236}">
                  <a16:creationId xmlns:a16="http://schemas.microsoft.com/office/drawing/2014/main" id="{729FFAE1-5E2C-4954-8F4F-DFFB10DC1A1D}"/>
                </a:ext>
              </a:extLst>
            </p:cNvPr>
            <p:cNvSpPr/>
            <p:nvPr userDrawn="1"/>
          </p:nvSpPr>
          <p:spPr bwMode="auto">
            <a:xfrm>
              <a:off x="3803377" y="2723214"/>
              <a:ext cx="552621" cy="50239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" name="íŝľíḑe">
              <a:extLst>
                <a:ext uri="{FF2B5EF4-FFF2-40B4-BE49-F238E27FC236}">
                  <a16:creationId xmlns:a16="http://schemas.microsoft.com/office/drawing/2014/main" id="{C76CDE87-989F-4FED-8C41-E5668EB96AFE}"/>
                </a:ext>
              </a:extLst>
            </p:cNvPr>
            <p:cNvSpPr/>
            <p:nvPr userDrawn="1"/>
          </p:nvSpPr>
          <p:spPr bwMode="auto">
            <a:xfrm>
              <a:off x="3974922" y="2523487"/>
              <a:ext cx="172770" cy="51464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" name="ïṥ1îḓè">
              <a:extLst>
                <a:ext uri="{FF2B5EF4-FFF2-40B4-BE49-F238E27FC236}">
                  <a16:creationId xmlns:a16="http://schemas.microsoft.com/office/drawing/2014/main" id="{6491BC25-5D16-416E-834C-C3C273B56AE3}"/>
                </a:ext>
              </a:extLst>
            </p:cNvPr>
            <p:cNvSpPr/>
            <p:nvPr userDrawn="1"/>
          </p:nvSpPr>
          <p:spPr bwMode="auto">
            <a:xfrm>
              <a:off x="2585407" y="2992784"/>
              <a:ext cx="302655" cy="51464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" name="íṡḷidê">
              <a:extLst>
                <a:ext uri="{FF2B5EF4-FFF2-40B4-BE49-F238E27FC236}">
                  <a16:creationId xmlns:a16="http://schemas.microsoft.com/office/drawing/2014/main" id="{97646E6B-D97E-4144-BE27-DBF63D11F3E3}"/>
                </a:ext>
              </a:extLst>
            </p:cNvPr>
            <p:cNvSpPr/>
            <p:nvPr userDrawn="1"/>
          </p:nvSpPr>
          <p:spPr bwMode="auto">
            <a:xfrm>
              <a:off x="2585407" y="3092036"/>
              <a:ext cx="373723" cy="51464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" name="ïSḻïḑe">
              <a:extLst>
                <a:ext uri="{FF2B5EF4-FFF2-40B4-BE49-F238E27FC236}">
                  <a16:creationId xmlns:a16="http://schemas.microsoft.com/office/drawing/2014/main" id="{D6B8E12F-8709-43F2-806C-6CAB41D5FC94}"/>
                </a:ext>
              </a:extLst>
            </p:cNvPr>
            <p:cNvSpPr/>
            <p:nvPr userDrawn="1"/>
          </p:nvSpPr>
          <p:spPr bwMode="auto">
            <a:xfrm>
              <a:off x="2998340" y="3092036"/>
              <a:ext cx="185024" cy="51464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" name="ïŝlîḋe">
              <a:extLst>
                <a:ext uri="{FF2B5EF4-FFF2-40B4-BE49-F238E27FC236}">
                  <a16:creationId xmlns:a16="http://schemas.microsoft.com/office/drawing/2014/main" id="{518E2322-9EE4-474F-ADE3-FD2898161179}"/>
                </a:ext>
              </a:extLst>
            </p:cNvPr>
            <p:cNvSpPr/>
            <p:nvPr userDrawn="1"/>
          </p:nvSpPr>
          <p:spPr bwMode="auto">
            <a:xfrm>
              <a:off x="2585407" y="3191287"/>
              <a:ext cx="148265" cy="51464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" name="ïṣḷidè">
              <a:extLst>
                <a:ext uri="{FF2B5EF4-FFF2-40B4-BE49-F238E27FC236}">
                  <a16:creationId xmlns:a16="http://schemas.microsoft.com/office/drawing/2014/main" id="{0BB4003C-99FF-44C8-9B1D-B72F6C0634E4}"/>
                </a:ext>
              </a:extLst>
            </p:cNvPr>
            <p:cNvSpPr/>
            <p:nvPr userDrawn="1"/>
          </p:nvSpPr>
          <p:spPr bwMode="auto">
            <a:xfrm>
              <a:off x="2785134" y="3191287"/>
              <a:ext cx="548944" cy="51464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" name="íṧľîḓê">
              <a:extLst>
                <a:ext uri="{FF2B5EF4-FFF2-40B4-BE49-F238E27FC236}">
                  <a16:creationId xmlns:a16="http://schemas.microsoft.com/office/drawing/2014/main" id="{1F16BF9D-8781-431D-8816-B051BA40B836}"/>
                </a:ext>
              </a:extLst>
            </p:cNvPr>
            <p:cNvSpPr/>
            <p:nvPr userDrawn="1"/>
          </p:nvSpPr>
          <p:spPr bwMode="auto">
            <a:xfrm>
              <a:off x="2955454" y="2992784"/>
              <a:ext cx="173996" cy="51464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" name="ïšḷîḓe">
              <a:extLst>
                <a:ext uri="{FF2B5EF4-FFF2-40B4-BE49-F238E27FC236}">
                  <a16:creationId xmlns:a16="http://schemas.microsoft.com/office/drawing/2014/main" id="{9A53BEED-3C4A-4059-B845-7D0D36B08474}"/>
                </a:ext>
              </a:extLst>
            </p:cNvPr>
            <p:cNvSpPr/>
            <p:nvPr userDrawn="1"/>
          </p:nvSpPr>
          <p:spPr bwMode="auto">
            <a:xfrm>
              <a:off x="2585407" y="2523487"/>
              <a:ext cx="302655" cy="51464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" name="îśliḍé">
              <a:extLst>
                <a:ext uri="{FF2B5EF4-FFF2-40B4-BE49-F238E27FC236}">
                  <a16:creationId xmlns:a16="http://schemas.microsoft.com/office/drawing/2014/main" id="{7C686A36-4505-4F1A-BAF7-B4EFDAFBF0AF}"/>
                </a:ext>
              </a:extLst>
            </p:cNvPr>
            <p:cNvSpPr/>
            <p:nvPr userDrawn="1"/>
          </p:nvSpPr>
          <p:spPr bwMode="auto">
            <a:xfrm>
              <a:off x="2585407" y="2623963"/>
              <a:ext cx="373723" cy="50239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" name="iṥ1iḍê">
              <a:extLst>
                <a:ext uri="{FF2B5EF4-FFF2-40B4-BE49-F238E27FC236}">
                  <a16:creationId xmlns:a16="http://schemas.microsoft.com/office/drawing/2014/main" id="{5051C958-829C-4DD0-89AD-F39D5FD792AD}"/>
                </a:ext>
              </a:extLst>
            </p:cNvPr>
            <p:cNvSpPr/>
            <p:nvPr userDrawn="1"/>
          </p:nvSpPr>
          <p:spPr bwMode="auto">
            <a:xfrm>
              <a:off x="2998340" y="2623963"/>
              <a:ext cx="185024" cy="50239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" name="ïSlïḑe">
              <a:extLst>
                <a:ext uri="{FF2B5EF4-FFF2-40B4-BE49-F238E27FC236}">
                  <a16:creationId xmlns:a16="http://schemas.microsoft.com/office/drawing/2014/main" id="{A459608F-3AFA-4141-A1AE-F19022B144E8}"/>
                </a:ext>
              </a:extLst>
            </p:cNvPr>
            <p:cNvSpPr/>
            <p:nvPr userDrawn="1"/>
          </p:nvSpPr>
          <p:spPr bwMode="auto">
            <a:xfrm>
              <a:off x="2585407" y="2723214"/>
              <a:ext cx="148265" cy="50239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" name="ïśľîďe">
              <a:extLst>
                <a:ext uri="{FF2B5EF4-FFF2-40B4-BE49-F238E27FC236}">
                  <a16:creationId xmlns:a16="http://schemas.microsoft.com/office/drawing/2014/main" id="{FD715729-8843-409A-AAC2-3E0D09CB3049}"/>
                </a:ext>
              </a:extLst>
            </p:cNvPr>
            <p:cNvSpPr/>
            <p:nvPr userDrawn="1"/>
          </p:nvSpPr>
          <p:spPr bwMode="auto">
            <a:xfrm>
              <a:off x="2785134" y="2723214"/>
              <a:ext cx="548944" cy="50239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" name="îṡľiďé">
              <a:extLst>
                <a:ext uri="{FF2B5EF4-FFF2-40B4-BE49-F238E27FC236}">
                  <a16:creationId xmlns:a16="http://schemas.microsoft.com/office/drawing/2014/main" id="{1FFA919A-4F71-493D-9C86-6014F672844E}"/>
                </a:ext>
              </a:extLst>
            </p:cNvPr>
            <p:cNvSpPr/>
            <p:nvPr userDrawn="1"/>
          </p:nvSpPr>
          <p:spPr bwMode="auto">
            <a:xfrm>
              <a:off x="2955454" y="2523487"/>
              <a:ext cx="173996" cy="51464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" name="ís1iḋê">
              <a:extLst>
                <a:ext uri="{FF2B5EF4-FFF2-40B4-BE49-F238E27FC236}">
                  <a16:creationId xmlns:a16="http://schemas.microsoft.com/office/drawing/2014/main" id="{02A3D0D4-41D4-4C40-BF57-01571A009C68}"/>
                </a:ext>
              </a:extLst>
            </p:cNvPr>
            <p:cNvSpPr/>
            <p:nvPr userDrawn="1"/>
          </p:nvSpPr>
          <p:spPr bwMode="auto">
            <a:xfrm>
              <a:off x="2295006" y="2249015"/>
              <a:ext cx="2274197" cy="1450781"/>
            </a:xfrm>
            <a:custGeom>
              <a:avLst/>
              <a:gdLst>
                <a:gd name="T0" fmla="*/ 745 w 799"/>
                <a:gd name="T1" fmla="*/ 511 h 511"/>
                <a:gd name="T2" fmla="*/ 54 w 799"/>
                <a:gd name="T3" fmla="*/ 511 h 511"/>
                <a:gd name="T4" fmla="*/ 0 w 799"/>
                <a:gd name="T5" fmla="*/ 458 h 511"/>
                <a:gd name="T6" fmla="*/ 0 w 799"/>
                <a:gd name="T7" fmla="*/ 54 h 511"/>
                <a:gd name="T8" fmla="*/ 54 w 799"/>
                <a:gd name="T9" fmla="*/ 0 h 511"/>
                <a:gd name="T10" fmla="*/ 745 w 799"/>
                <a:gd name="T11" fmla="*/ 0 h 511"/>
                <a:gd name="T12" fmla="*/ 799 w 799"/>
                <a:gd name="T13" fmla="*/ 54 h 511"/>
                <a:gd name="T14" fmla="*/ 799 w 799"/>
                <a:gd name="T15" fmla="*/ 458 h 511"/>
                <a:gd name="T16" fmla="*/ 745 w 799"/>
                <a:gd name="T17" fmla="*/ 511 h 511"/>
                <a:gd name="T18" fmla="*/ 54 w 799"/>
                <a:gd name="T19" fmla="*/ 32 h 511"/>
                <a:gd name="T20" fmla="*/ 33 w 799"/>
                <a:gd name="T21" fmla="*/ 54 h 511"/>
                <a:gd name="T22" fmla="*/ 33 w 799"/>
                <a:gd name="T23" fmla="*/ 386 h 511"/>
                <a:gd name="T24" fmla="*/ 54 w 799"/>
                <a:gd name="T25" fmla="*/ 408 h 511"/>
                <a:gd name="T26" fmla="*/ 745 w 799"/>
                <a:gd name="T27" fmla="*/ 408 h 511"/>
                <a:gd name="T28" fmla="*/ 767 w 799"/>
                <a:gd name="T29" fmla="*/ 386 h 511"/>
                <a:gd name="T30" fmla="*/ 767 w 799"/>
                <a:gd name="T31" fmla="*/ 54 h 511"/>
                <a:gd name="T32" fmla="*/ 745 w 799"/>
                <a:gd name="T33" fmla="*/ 32 h 511"/>
                <a:gd name="T34" fmla="*/ 54 w 799"/>
                <a:gd name="T35" fmla="*/ 32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99" h="511">
                  <a:moveTo>
                    <a:pt x="745" y="511"/>
                  </a:moveTo>
                  <a:cubicBezTo>
                    <a:pt x="54" y="511"/>
                    <a:pt x="54" y="511"/>
                    <a:pt x="54" y="511"/>
                  </a:cubicBezTo>
                  <a:cubicBezTo>
                    <a:pt x="25" y="511"/>
                    <a:pt x="0" y="487"/>
                    <a:pt x="0" y="4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24"/>
                    <a:pt x="25" y="0"/>
                    <a:pt x="54" y="0"/>
                  </a:cubicBezTo>
                  <a:cubicBezTo>
                    <a:pt x="745" y="0"/>
                    <a:pt x="745" y="0"/>
                    <a:pt x="745" y="0"/>
                  </a:cubicBezTo>
                  <a:cubicBezTo>
                    <a:pt x="775" y="0"/>
                    <a:pt x="799" y="24"/>
                    <a:pt x="799" y="54"/>
                  </a:cubicBezTo>
                  <a:cubicBezTo>
                    <a:pt x="799" y="458"/>
                    <a:pt x="799" y="458"/>
                    <a:pt x="799" y="458"/>
                  </a:cubicBezTo>
                  <a:cubicBezTo>
                    <a:pt x="799" y="487"/>
                    <a:pt x="775" y="511"/>
                    <a:pt x="745" y="511"/>
                  </a:cubicBezTo>
                  <a:moveTo>
                    <a:pt x="54" y="32"/>
                  </a:moveTo>
                  <a:cubicBezTo>
                    <a:pt x="42" y="32"/>
                    <a:pt x="33" y="42"/>
                    <a:pt x="33" y="54"/>
                  </a:cubicBezTo>
                  <a:cubicBezTo>
                    <a:pt x="33" y="386"/>
                    <a:pt x="33" y="386"/>
                    <a:pt x="33" y="386"/>
                  </a:cubicBezTo>
                  <a:cubicBezTo>
                    <a:pt x="33" y="398"/>
                    <a:pt x="42" y="408"/>
                    <a:pt x="54" y="408"/>
                  </a:cubicBezTo>
                  <a:cubicBezTo>
                    <a:pt x="745" y="408"/>
                    <a:pt x="745" y="408"/>
                    <a:pt x="745" y="408"/>
                  </a:cubicBezTo>
                  <a:cubicBezTo>
                    <a:pt x="757" y="408"/>
                    <a:pt x="767" y="398"/>
                    <a:pt x="767" y="386"/>
                  </a:cubicBezTo>
                  <a:cubicBezTo>
                    <a:pt x="767" y="54"/>
                    <a:pt x="767" y="54"/>
                    <a:pt x="767" y="54"/>
                  </a:cubicBezTo>
                  <a:cubicBezTo>
                    <a:pt x="767" y="42"/>
                    <a:pt x="757" y="32"/>
                    <a:pt x="745" y="32"/>
                  </a:cubicBezTo>
                  <a:cubicBezTo>
                    <a:pt x="54" y="32"/>
                    <a:pt x="54" y="32"/>
                    <a:pt x="54" y="32"/>
                  </a:cubicBezTo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" name="iSľíḑé">
              <a:extLst>
                <a:ext uri="{FF2B5EF4-FFF2-40B4-BE49-F238E27FC236}">
                  <a16:creationId xmlns:a16="http://schemas.microsoft.com/office/drawing/2014/main" id="{DEE98AAA-891E-40EF-AD10-81540C98BE92}"/>
                </a:ext>
              </a:extLst>
            </p:cNvPr>
            <p:cNvSpPr/>
            <p:nvPr userDrawn="1"/>
          </p:nvSpPr>
          <p:spPr bwMode="auto">
            <a:xfrm>
              <a:off x="4182001" y="3236624"/>
              <a:ext cx="79646" cy="6127"/>
            </a:xfrm>
            <a:custGeom>
              <a:avLst/>
              <a:gdLst>
                <a:gd name="T0" fmla="*/ 14 w 28"/>
                <a:gd name="T1" fmla="*/ 0 h 2"/>
                <a:gd name="T2" fmla="*/ 0 w 28"/>
                <a:gd name="T3" fmla="*/ 2 h 2"/>
                <a:gd name="T4" fmla="*/ 28 w 28"/>
                <a:gd name="T5" fmla="*/ 2 h 2"/>
                <a:gd name="T6" fmla="*/ 14 w 28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2">
                  <a:moveTo>
                    <a:pt x="14" y="0"/>
                  </a:moveTo>
                  <a:cubicBezTo>
                    <a:pt x="9" y="0"/>
                    <a:pt x="4" y="1"/>
                    <a:pt x="0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4" y="1"/>
                    <a:pt x="19" y="0"/>
                    <a:pt x="14" y="0"/>
                  </a:cubicBezTo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" name="îslîďè">
              <a:extLst>
                <a:ext uri="{FF2B5EF4-FFF2-40B4-BE49-F238E27FC236}">
                  <a16:creationId xmlns:a16="http://schemas.microsoft.com/office/drawing/2014/main" id="{A1A59CF2-7C2A-41E5-878C-5326AA0ACDB1}"/>
                </a:ext>
              </a:extLst>
            </p:cNvPr>
            <p:cNvSpPr/>
            <p:nvPr userDrawn="1"/>
          </p:nvSpPr>
          <p:spPr bwMode="auto">
            <a:xfrm>
              <a:off x="4065595" y="3406943"/>
              <a:ext cx="486453" cy="287951"/>
            </a:xfrm>
            <a:custGeom>
              <a:avLst/>
              <a:gdLst>
                <a:gd name="T0" fmla="*/ 110 w 171"/>
                <a:gd name="T1" fmla="*/ 0 h 101"/>
                <a:gd name="T2" fmla="*/ 73 w 171"/>
                <a:gd name="T3" fmla="*/ 0 h 101"/>
                <a:gd name="T4" fmla="*/ 70 w 171"/>
                <a:gd name="T5" fmla="*/ 9 h 101"/>
                <a:gd name="T6" fmla="*/ 44 w 171"/>
                <a:gd name="T7" fmla="*/ 18 h 101"/>
                <a:gd name="T8" fmla="*/ 24 w 171"/>
                <a:gd name="T9" fmla="*/ 0 h 101"/>
                <a:gd name="T10" fmla="*/ 0 w 171"/>
                <a:gd name="T11" fmla="*/ 0 h 101"/>
                <a:gd name="T12" fmla="*/ 18 w 171"/>
                <a:gd name="T13" fmla="*/ 35 h 101"/>
                <a:gd name="T14" fmla="*/ 55 w 171"/>
                <a:gd name="T15" fmla="*/ 50 h 101"/>
                <a:gd name="T16" fmla="*/ 71 w 171"/>
                <a:gd name="T17" fmla="*/ 47 h 101"/>
                <a:gd name="T18" fmla="*/ 78 w 171"/>
                <a:gd name="T19" fmla="*/ 45 h 101"/>
                <a:gd name="T20" fmla="*/ 138 w 171"/>
                <a:gd name="T21" fmla="*/ 101 h 101"/>
                <a:gd name="T22" fmla="*/ 171 w 171"/>
                <a:gd name="T23" fmla="*/ 74 h 101"/>
                <a:gd name="T24" fmla="*/ 107 w 171"/>
                <a:gd name="T25" fmla="*/ 14 h 101"/>
                <a:gd name="T26" fmla="*/ 108 w 171"/>
                <a:gd name="T27" fmla="*/ 7 h 101"/>
                <a:gd name="T28" fmla="*/ 110 w 171"/>
                <a:gd name="T2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1" h="101">
                  <a:moveTo>
                    <a:pt x="110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0" y="9"/>
                    <a:pt x="70" y="9"/>
                    <a:pt x="70" y="9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13"/>
                    <a:pt x="8" y="26"/>
                    <a:pt x="18" y="35"/>
                  </a:cubicBezTo>
                  <a:cubicBezTo>
                    <a:pt x="28" y="45"/>
                    <a:pt x="41" y="50"/>
                    <a:pt x="55" y="50"/>
                  </a:cubicBezTo>
                  <a:cubicBezTo>
                    <a:pt x="60" y="50"/>
                    <a:pt x="66" y="49"/>
                    <a:pt x="71" y="47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138" y="101"/>
                    <a:pt x="138" y="101"/>
                    <a:pt x="138" y="101"/>
                  </a:cubicBezTo>
                  <a:cubicBezTo>
                    <a:pt x="153" y="97"/>
                    <a:pt x="165" y="87"/>
                    <a:pt x="171" y="74"/>
                  </a:cubicBezTo>
                  <a:cubicBezTo>
                    <a:pt x="107" y="14"/>
                    <a:pt x="107" y="14"/>
                    <a:pt x="107" y="14"/>
                  </a:cubicBezTo>
                  <a:cubicBezTo>
                    <a:pt x="108" y="7"/>
                    <a:pt x="108" y="7"/>
                    <a:pt x="108" y="7"/>
                  </a:cubicBezTo>
                  <a:cubicBezTo>
                    <a:pt x="109" y="5"/>
                    <a:pt x="109" y="2"/>
                    <a:pt x="110" y="0"/>
                  </a:cubicBezTo>
                </a:path>
              </a:pathLst>
            </a:custGeom>
            <a:solidFill>
              <a:srgbClr val="6F6F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" name="îSľiḑe">
              <a:extLst>
                <a:ext uri="{FF2B5EF4-FFF2-40B4-BE49-F238E27FC236}">
                  <a16:creationId xmlns:a16="http://schemas.microsoft.com/office/drawing/2014/main" id="{57D750CF-37DE-4665-9CB7-01AB39A41A02}"/>
                </a:ext>
              </a:extLst>
            </p:cNvPr>
            <p:cNvSpPr/>
            <p:nvPr userDrawn="1"/>
          </p:nvSpPr>
          <p:spPr bwMode="auto">
            <a:xfrm>
              <a:off x="2389356" y="2316407"/>
              <a:ext cx="2089174" cy="85773"/>
            </a:xfrm>
            <a:custGeom>
              <a:avLst/>
              <a:gdLst>
                <a:gd name="T0" fmla="*/ 712 w 734"/>
                <a:gd name="T1" fmla="*/ 0 h 30"/>
                <a:gd name="T2" fmla="*/ 21 w 734"/>
                <a:gd name="T3" fmla="*/ 0 h 30"/>
                <a:gd name="T4" fmla="*/ 0 w 734"/>
                <a:gd name="T5" fmla="*/ 22 h 30"/>
                <a:gd name="T6" fmla="*/ 0 w 734"/>
                <a:gd name="T7" fmla="*/ 30 h 30"/>
                <a:gd name="T8" fmla="*/ 21 w 734"/>
                <a:gd name="T9" fmla="*/ 8 h 30"/>
                <a:gd name="T10" fmla="*/ 712 w 734"/>
                <a:gd name="T11" fmla="*/ 8 h 30"/>
                <a:gd name="T12" fmla="*/ 734 w 734"/>
                <a:gd name="T13" fmla="*/ 30 h 30"/>
                <a:gd name="T14" fmla="*/ 734 w 734"/>
                <a:gd name="T15" fmla="*/ 22 h 30"/>
                <a:gd name="T16" fmla="*/ 712 w 734"/>
                <a:gd name="T1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4" h="30">
                  <a:moveTo>
                    <a:pt x="712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9" y="0"/>
                    <a:pt x="0" y="10"/>
                    <a:pt x="0" y="22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8"/>
                    <a:pt x="9" y="8"/>
                    <a:pt x="21" y="8"/>
                  </a:cubicBezTo>
                  <a:cubicBezTo>
                    <a:pt x="712" y="8"/>
                    <a:pt x="712" y="8"/>
                    <a:pt x="712" y="8"/>
                  </a:cubicBezTo>
                  <a:cubicBezTo>
                    <a:pt x="724" y="8"/>
                    <a:pt x="734" y="18"/>
                    <a:pt x="734" y="30"/>
                  </a:cubicBezTo>
                  <a:cubicBezTo>
                    <a:pt x="734" y="22"/>
                    <a:pt x="734" y="22"/>
                    <a:pt x="734" y="22"/>
                  </a:cubicBezTo>
                  <a:cubicBezTo>
                    <a:pt x="734" y="10"/>
                    <a:pt x="724" y="0"/>
                    <a:pt x="712" y="0"/>
                  </a:cubicBez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" name="íSļíḓè">
              <a:extLst>
                <a:ext uri="{FF2B5EF4-FFF2-40B4-BE49-F238E27FC236}">
                  <a16:creationId xmlns:a16="http://schemas.microsoft.com/office/drawing/2014/main" id="{6F350305-3324-45A3-B8A0-CB9ED19AFFA9}"/>
                </a:ext>
              </a:extLst>
            </p:cNvPr>
            <p:cNvSpPr/>
            <p:nvPr userDrawn="1"/>
          </p:nvSpPr>
          <p:spPr bwMode="auto">
            <a:xfrm>
              <a:off x="2295006" y="3527025"/>
              <a:ext cx="2274197" cy="172770"/>
            </a:xfrm>
            <a:custGeom>
              <a:avLst/>
              <a:gdLst>
                <a:gd name="T0" fmla="*/ 745 w 799"/>
                <a:gd name="T1" fmla="*/ 54 h 61"/>
                <a:gd name="T2" fmla="*/ 54 w 799"/>
                <a:gd name="T3" fmla="*/ 54 h 61"/>
                <a:gd name="T4" fmla="*/ 0 w 799"/>
                <a:gd name="T5" fmla="*/ 0 h 61"/>
                <a:gd name="T6" fmla="*/ 0 w 799"/>
                <a:gd name="T7" fmla="*/ 8 h 61"/>
                <a:gd name="T8" fmla="*/ 54 w 799"/>
                <a:gd name="T9" fmla="*/ 61 h 61"/>
                <a:gd name="T10" fmla="*/ 745 w 799"/>
                <a:gd name="T11" fmla="*/ 61 h 61"/>
                <a:gd name="T12" fmla="*/ 799 w 799"/>
                <a:gd name="T13" fmla="*/ 8 h 61"/>
                <a:gd name="T14" fmla="*/ 799 w 799"/>
                <a:gd name="T15" fmla="*/ 0 h 61"/>
                <a:gd name="T16" fmla="*/ 745 w 799"/>
                <a:gd name="T17" fmla="*/ 54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9" h="61">
                  <a:moveTo>
                    <a:pt x="745" y="54"/>
                  </a:moveTo>
                  <a:cubicBezTo>
                    <a:pt x="54" y="54"/>
                    <a:pt x="54" y="54"/>
                    <a:pt x="54" y="54"/>
                  </a:cubicBezTo>
                  <a:cubicBezTo>
                    <a:pt x="25" y="54"/>
                    <a:pt x="0" y="29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7"/>
                    <a:pt x="25" y="61"/>
                    <a:pt x="54" y="61"/>
                  </a:cubicBezTo>
                  <a:cubicBezTo>
                    <a:pt x="745" y="61"/>
                    <a:pt x="745" y="61"/>
                    <a:pt x="745" y="61"/>
                  </a:cubicBezTo>
                  <a:cubicBezTo>
                    <a:pt x="775" y="61"/>
                    <a:pt x="799" y="37"/>
                    <a:pt x="799" y="8"/>
                  </a:cubicBezTo>
                  <a:cubicBezTo>
                    <a:pt x="799" y="0"/>
                    <a:pt x="799" y="0"/>
                    <a:pt x="799" y="0"/>
                  </a:cubicBezTo>
                  <a:cubicBezTo>
                    <a:pt x="799" y="29"/>
                    <a:pt x="775" y="54"/>
                    <a:pt x="745" y="54"/>
                  </a:cubicBez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" name="ïṧḻídé">
              <a:extLst>
                <a:ext uri="{FF2B5EF4-FFF2-40B4-BE49-F238E27FC236}">
                  <a16:creationId xmlns:a16="http://schemas.microsoft.com/office/drawing/2014/main" id="{6CEB28B7-8744-4428-BD55-349B6D225EEF}"/>
                </a:ext>
              </a:extLst>
            </p:cNvPr>
            <p:cNvSpPr/>
            <p:nvPr userDrawn="1"/>
          </p:nvSpPr>
          <p:spPr bwMode="auto">
            <a:xfrm>
              <a:off x="4332716" y="2367871"/>
              <a:ext cx="46562" cy="45337"/>
            </a:xfrm>
            <a:prstGeom prst="ellipse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" name="iṧlïḋê">
              <a:extLst>
                <a:ext uri="{FF2B5EF4-FFF2-40B4-BE49-F238E27FC236}">
                  <a16:creationId xmlns:a16="http://schemas.microsoft.com/office/drawing/2014/main" id="{7C679456-F585-4818-B794-9A4AD918F7B4}"/>
                </a:ext>
              </a:extLst>
            </p:cNvPr>
            <p:cNvSpPr/>
            <p:nvPr userDrawn="1"/>
          </p:nvSpPr>
          <p:spPr bwMode="auto">
            <a:xfrm>
              <a:off x="4253069" y="2367871"/>
              <a:ext cx="46562" cy="45337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" name="ïSḷîḍê">
              <a:extLst>
                <a:ext uri="{FF2B5EF4-FFF2-40B4-BE49-F238E27FC236}">
                  <a16:creationId xmlns:a16="http://schemas.microsoft.com/office/drawing/2014/main" id="{2276FD30-3EB1-4161-BB1B-6273497B99E8}"/>
                </a:ext>
              </a:extLst>
            </p:cNvPr>
            <p:cNvSpPr/>
            <p:nvPr userDrawn="1"/>
          </p:nvSpPr>
          <p:spPr bwMode="auto">
            <a:xfrm>
              <a:off x="4173424" y="2367871"/>
              <a:ext cx="46562" cy="45337"/>
            </a:xfrm>
            <a:prstGeom prst="ellipse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" name="íşlîḍe">
              <a:extLst>
                <a:ext uri="{FF2B5EF4-FFF2-40B4-BE49-F238E27FC236}">
                  <a16:creationId xmlns:a16="http://schemas.microsoft.com/office/drawing/2014/main" id="{9362D34F-AEE9-426A-962B-5CEB6FAEF8FF}"/>
                </a:ext>
              </a:extLst>
            </p:cNvPr>
            <p:cNvSpPr/>
            <p:nvPr userDrawn="1"/>
          </p:nvSpPr>
          <p:spPr bwMode="auto">
            <a:xfrm>
              <a:off x="2150418" y="2831042"/>
              <a:ext cx="572225" cy="1187337"/>
            </a:xfrm>
            <a:custGeom>
              <a:avLst/>
              <a:gdLst>
                <a:gd name="T0" fmla="*/ 65 w 467"/>
                <a:gd name="T1" fmla="*/ 969 h 969"/>
                <a:gd name="T2" fmla="*/ 467 w 467"/>
                <a:gd name="T3" fmla="*/ 23 h 969"/>
                <a:gd name="T4" fmla="*/ 413 w 467"/>
                <a:gd name="T5" fmla="*/ 0 h 969"/>
                <a:gd name="T6" fmla="*/ 0 w 467"/>
                <a:gd name="T7" fmla="*/ 969 h 969"/>
                <a:gd name="T8" fmla="*/ 65 w 467"/>
                <a:gd name="T9" fmla="*/ 969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7" h="969">
                  <a:moveTo>
                    <a:pt x="65" y="969"/>
                  </a:moveTo>
                  <a:lnTo>
                    <a:pt x="467" y="23"/>
                  </a:lnTo>
                  <a:lnTo>
                    <a:pt x="413" y="0"/>
                  </a:lnTo>
                  <a:lnTo>
                    <a:pt x="0" y="969"/>
                  </a:lnTo>
                  <a:lnTo>
                    <a:pt x="65" y="969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îṧliḓe">
              <a:extLst>
                <a:ext uri="{FF2B5EF4-FFF2-40B4-BE49-F238E27FC236}">
                  <a16:creationId xmlns:a16="http://schemas.microsoft.com/office/drawing/2014/main" id="{E465730B-B4E3-45F7-9A17-D05BF1D44560}"/>
                </a:ext>
              </a:extLst>
            </p:cNvPr>
            <p:cNvSpPr/>
            <p:nvPr userDrawn="1"/>
          </p:nvSpPr>
          <p:spPr bwMode="auto">
            <a:xfrm>
              <a:off x="2232515" y="3038122"/>
              <a:ext cx="352893" cy="73519"/>
            </a:xfrm>
            <a:custGeom>
              <a:avLst/>
              <a:gdLst>
                <a:gd name="T0" fmla="*/ 0 w 124"/>
                <a:gd name="T1" fmla="*/ 13 h 26"/>
                <a:gd name="T2" fmla="*/ 0 w 124"/>
                <a:gd name="T3" fmla="*/ 13 h 26"/>
                <a:gd name="T4" fmla="*/ 13 w 124"/>
                <a:gd name="T5" fmla="*/ 0 h 26"/>
                <a:gd name="T6" fmla="*/ 124 w 124"/>
                <a:gd name="T7" fmla="*/ 0 h 26"/>
                <a:gd name="T8" fmla="*/ 124 w 124"/>
                <a:gd name="T9" fmla="*/ 26 h 26"/>
                <a:gd name="T10" fmla="*/ 13 w 124"/>
                <a:gd name="T11" fmla="*/ 26 h 26"/>
                <a:gd name="T12" fmla="*/ 0 w 124"/>
                <a:gd name="T13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26">
                  <a:moveTo>
                    <a:pt x="0" y="13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26"/>
                    <a:pt x="124" y="26"/>
                    <a:pt x="12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6" y="26"/>
                    <a:pt x="0" y="20"/>
                    <a:pt x="0" y="13"/>
                  </a:cubicBez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" name="ïšľïḍê">
              <a:extLst>
                <a:ext uri="{FF2B5EF4-FFF2-40B4-BE49-F238E27FC236}">
                  <a16:creationId xmlns:a16="http://schemas.microsoft.com/office/drawing/2014/main" id="{B60B31B6-2F6D-43E9-A087-7E65E0CDD14B}"/>
                </a:ext>
              </a:extLst>
            </p:cNvPr>
            <p:cNvSpPr/>
            <p:nvPr userDrawn="1"/>
          </p:nvSpPr>
          <p:spPr bwMode="auto">
            <a:xfrm>
              <a:off x="2135714" y="3299115"/>
              <a:ext cx="350442" cy="74745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ïṡ1îḍe">
              <a:extLst>
                <a:ext uri="{FF2B5EF4-FFF2-40B4-BE49-F238E27FC236}">
                  <a16:creationId xmlns:a16="http://schemas.microsoft.com/office/drawing/2014/main" id="{816B332D-A7D7-441B-A1E5-F9962994DB11}"/>
                </a:ext>
              </a:extLst>
            </p:cNvPr>
            <p:cNvSpPr/>
            <p:nvPr userDrawn="1"/>
          </p:nvSpPr>
          <p:spPr bwMode="auto">
            <a:xfrm>
              <a:off x="2021759" y="3561334"/>
              <a:ext cx="359019" cy="73519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" name="iṧḷídè">
              <a:extLst>
                <a:ext uri="{FF2B5EF4-FFF2-40B4-BE49-F238E27FC236}">
                  <a16:creationId xmlns:a16="http://schemas.microsoft.com/office/drawing/2014/main" id="{D304BA61-8182-4162-B06A-CCB3B84A59D3}"/>
                </a:ext>
              </a:extLst>
            </p:cNvPr>
            <p:cNvSpPr/>
            <p:nvPr userDrawn="1"/>
          </p:nvSpPr>
          <p:spPr bwMode="auto">
            <a:xfrm>
              <a:off x="1917607" y="3822327"/>
              <a:ext cx="346766" cy="73519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íṥļïďê">
              <a:extLst>
                <a:ext uri="{FF2B5EF4-FFF2-40B4-BE49-F238E27FC236}">
                  <a16:creationId xmlns:a16="http://schemas.microsoft.com/office/drawing/2014/main" id="{3C56152F-6DEA-455B-84F3-46512E0C54B5}"/>
                </a:ext>
              </a:extLst>
            </p:cNvPr>
            <p:cNvSpPr/>
            <p:nvPr userDrawn="1"/>
          </p:nvSpPr>
          <p:spPr bwMode="auto">
            <a:xfrm>
              <a:off x="4110932" y="3123895"/>
              <a:ext cx="709462" cy="903062"/>
            </a:xfrm>
            <a:custGeom>
              <a:avLst/>
              <a:gdLst>
                <a:gd name="T0" fmla="*/ 242 w 249"/>
                <a:gd name="T1" fmla="*/ 282 h 318"/>
                <a:gd name="T2" fmla="*/ 104 w 249"/>
                <a:gd name="T3" fmla="*/ 86 h 318"/>
                <a:gd name="T4" fmla="*/ 107 w 249"/>
                <a:gd name="T5" fmla="*/ 79 h 318"/>
                <a:gd name="T6" fmla="*/ 102 w 249"/>
                <a:gd name="T7" fmla="*/ 25 h 318"/>
                <a:gd name="T8" fmla="*/ 53 w 249"/>
                <a:gd name="T9" fmla="*/ 2 h 318"/>
                <a:gd name="T10" fmla="*/ 49 w 249"/>
                <a:gd name="T11" fmla="*/ 2 h 318"/>
                <a:gd name="T12" fmla="*/ 81 w 249"/>
                <a:gd name="T13" fmla="*/ 48 h 318"/>
                <a:gd name="T14" fmla="*/ 70 w 249"/>
                <a:gd name="T15" fmla="*/ 73 h 318"/>
                <a:gd name="T16" fmla="*/ 42 w 249"/>
                <a:gd name="T17" fmla="*/ 76 h 318"/>
                <a:gd name="T18" fmla="*/ 9 w 249"/>
                <a:gd name="T19" fmla="*/ 30 h 318"/>
                <a:gd name="T20" fmla="*/ 8 w 249"/>
                <a:gd name="T21" fmla="*/ 33 h 318"/>
                <a:gd name="T22" fmla="*/ 13 w 249"/>
                <a:gd name="T23" fmla="*/ 88 h 318"/>
                <a:gd name="T24" fmla="*/ 62 w 249"/>
                <a:gd name="T25" fmla="*/ 111 h 318"/>
                <a:gd name="T26" fmla="*/ 69 w 249"/>
                <a:gd name="T27" fmla="*/ 110 h 318"/>
                <a:gd name="T28" fmla="*/ 208 w 249"/>
                <a:gd name="T29" fmla="*/ 306 h 318"/>
                <a:gd name="T30" fmla="*/ 237 w 249"/>
                <a:gd name="T31" fmla="*/ 311 h 318"/>
                <a:gd name="T32" fmla="*/ 242 w 249"/>
                <a:gd name="T33" fmla="*/ 282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9" h="318">
                  <a:moveTo>
                    <a:pt x="242" y="282"/>
                  </a:moveTo>
                  <a:cubicBezTo>
                    <a:pt x="104" y="86"/>
                    <a:pt x="104" y="86"/>
                    <a:pt x="104" y="86"/>
                  </a:cubicBezTo>
                  <a:cubicBezTo>
                    <a:pt x="107" y="79"/>
                    <a:pt x="107" y="79"/>
                    <a:pt x="107" y="79"/>
                  </a:cubicBezTo>
                  <a:cubicBezTo>
                    <a:pt x="115" y="61"/>
                    <a:pt x="113" y="41"/>
                    <a:pt x="102" y="25"/>
                  </a:cubicBezTo>
                  <a:cubicBezTo>
                    <a:pt x="91" y="9"/>
                    <a:pt x="72" y="0"/>
                    <a:pt x="53" y="2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81" y="48"/>
                    <a:pt x="81" y="48"/>
                    <a:pt x="81" y="48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42" y="76"/>
                    <a:pt x="42" y="76"/>
                    <a:pt x="42" y="76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0" y="51"/>
                    <a:pt x="1" y="72"/>
                    <a:pt x="13" y="88"/>
                  </a:cubicBezTo>
                  <a:cubicBezTo>
                    <a:pt x="24" y="104"/>
                    <a:pt x="43" y="113"/>
                    <a:pt x="62" y="111"/>
                  </a:cubicBezTo>
                  <a:cubicBezTo>
                    <a:pt x="69" y="110"/>
                    <a:pt x="69" y="110"/>
                    <a:pt x="69" y="110"/>
                  </a:cubicBezTo>
                  <a:cubicBezTo>
                    <a:pt x="208" y="306"/>
                    <a:pt x="208" y="306"/>
                    <a:pt x="208" y="306"/>
                  </a:cubicBezTo>
                  <a:cubicBezTo>
                    <a:pt x="214" y="316"/>
                    <a:pt x="228" y="318"/>
                    <a:pt x="237" y="311"/>
                  </a:cubicBezTo>
                  <a:cubicBezTo>
                    <a:pt x="247" y="305"/>
                    <a:pt x="249" y="291"/>
                    <a:pt x="242" y="282"/>
                  </a:cubicBezTo>
                  <a:close/>
                </a:path>
              </a:pathLst>
            </a:custGeom>
            <a:solidFill>
              <a:srgbClr val="ADAD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iṡlîḑe">
              <a:extLst>
                <a:ext uri="{FF2B5EF4-FFF2-40B4-BE49-F238E27FC236}">
                  <a16:creationId xmlns:a16="http://schemas.microsoft.com/office/drawing/2014/main" id="{AB28FAAC-F46A-4766-9105-5D772167698A}"/>
                </a:ext>
              </a:extLst>
            </p:cNvPr>
            <p:cNvSpPr/>
            <p:nvPr userDrawn="1"/>
          </p:nvSpPr>
          <p:spPr bwMode="auto">
            <a:xfrm>
              <a:off x="4362124" y="3421647"/>
              <a:ext cx="398230" cy="534240"/>
            </a:xfrm>
            <a:custGeom>
              <a:avLst/>
              <a:gdLst>
                <a:gd name="T0" fmla="*/ 134 w 140"/>
                <a:gd name="T1" fmla="*/ 184 h 188"/>
                <a:gd name="T2" fmla="*/ 134 w 140"/>
                <a:gd name="T3" fmla="*/ 184 h 188"/>
                <a:gd name="T4" fmla="*/ 119 w 140"/>
                <a:gd name="T5" fmla="*/ 182 h 188"/>
                <a:gd name="T6" fmla="*/ 3 w 140"/>
                <a:gd name="T7" fmla="*/ 18 h 188"/>
                <a:gd name="T8" fmla="*/ 6 w 140"/>
                <a:gd name="T9" fmla="*/ 3 h 188"/>
                <a:gd name="T10" fmla="*/ 20 w 140"/>
                <a:gd name="T11" fmla="*/ 5 h 188"/>
                <a:gd name="T12" fmla="*/ 136 w 140"/>
                <a:gd name="T13" fmla="*/ 170 h 188"/>
                <a:gd name="T14" fmla="*/ 134 w 140"/>
                <a:gd name="T15" fmla="*/ 184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0" h="188">
                  <a:moveTo>
                    <a:pt x="134" y="184"/>
                  </a:moveTo>
                  <a:cubicBezTo>
                    <a:pt x="134" y="184"/>
                    <a:pt x="134" y="184"/>
                    <a:pt x="134" y="184"/>
                  </a:cubicBezTo>
                  <a:cubicBezTo>
                    <a:pt x="129" y="188"/>
                    <a:pt x="122" y="187"/>
                    <a:pt x="119" y="182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0" y="13"/>
                    <a:pt x="1" y="6"/>
                    <a:pt x="6" y="3"/>
                  </a:cubicBezTo>
                  <a:cubicBezTo>
                    <a:pt x="11" y="0"/>
                    <a:pt x="17" y="1"/>
                    <a:pt x="20" y="5"/>
                  </a:cubicBezTo>
                  <a:cubicBezTo>
                    <a:pt x="136" y="170"/>
                    <a:pt x="136" y="170"/>
                    <a:pt x="136" y="170"/>
                  </a:cubicBezTo>
                  <a:cubicBezTo>
                    <a:pt x="140" y="175"/>
                    <a:pt x="138" y="181"/>
                    <a:pt x="134" y="184"/>
                  </a:cubicBezTo>
                  <a:close/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îšļiḍé">
              <a:extLst>
                <a:ext uri="{FF2B5EF4-FFF2-40B4-BE49-F238E27FC236}">
                  <a16:creationId xmlns:a16="http://schemas.microsoft.com/office/drawing/2014/main" id="{A3F7342D-749D-43FF-A5BE-1FFFE09FBDBA}"/>
                </a:ext>
              </a:extLst>
            </p:cNvPr>
            <p:cNvSpPr/>
            <p:nvPr userDrawn="1"/>
          </p:nvSpPr>
          <p:spPr bwMode="auto">
            <a:xfrm>
              <a:off x="3419851" y="4188698"/>
              <a:ext cx="583253" cy="943498"/>
            </a:xfrm>
            <a:custGeom>
              <a:avLst/>
              <a:gdLst>
                <a:gd name="T0" fmla="*/ 0 w 205"/>
                <a:gd name="T1" fmla="*/ 0 h 332"/>
                <a:gd name="T2" fmla="*/ 126 w 205"/>
                <a:gd name="T3" fmla="*/ 0 h 332"/>
                <a:gd name="T4" fmla="*/ 133 w 205"/>
                <a:gd name="T5" fmla="*/ 1 h 332"/>
                <a:gd name="T6" fmla="*/ 195 w 205"/>
                <a:gd name="T7" fmla="*/ 90 h 332"/>
                <a:gd name="T8" fmla="*/ 143 w 205"/>
                <a:gd name="T9" fmla="*/ 332 h 332"/>
                <a:gd name="T10" fmla="*/ 68 w 205"/>
                <a:gd name="T11" fmla="*/ 332 h 332"/>
                <a:gd name="T12" fmla="*/ 104 w 205"/>
                <a:gd name="T13" fmla="*/ 102 h 332"/>
                <a:gd name="T14" fmla="*/ 0 w 205"/>
                <a:gd name="T15" fmla="*/ 102 h 332"/>
                <a:gd name="T16" fmla="*/ 0 w 205"/>
                <a:gd name="T17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5" h="332">
                  <a:moveTo>
                    <a:pt x="0" y="0"/>
                  </a:moveTo>
                  <a:cubicBezTo>
                    <a:pt x="126" y="0"/>
                    <a:pt x="126" y="0"/>
                    <a:pt x="126" y="0"/>
                  </a:cubicBezTo>
                  <a:cubicBezTo>
                    <a:pt x="128" y="0"/>
                    <a:pt x="131" y="0"/>
                    <a:pt x="133" y="1"/>
                  </a:cubicBezTo>
                  <a:cubicBezTo>
                    <a:pt x="176" y="5"/>
                    <a:pt x="205" y="48"/>
                    <a:pt x="195" y="90"/>
                  </a:cubicBezTo>
                  <a:cubicBezTo>
                    <a:pt x="143" y="332"/>
                    <a:pt x="143" y="332"/>
                    <a:pt x="143" y="332"/>
                  </a:cubicBezTo>
                  <a:cubicBezTo>
                    <a:pt x="68" y="332"/>
                    <a:pt x="68" y="332"/>
                    <a:pt x="68" y="332"/>
                  </a:cubicBezTo>
                  <a:cubicBezTo>
                    <a:pt x="104" y="102"/>
                    <a:pt x="104" y="102"/>
                    <a:pt x="104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í$ḷïḑe">
              <a:extLst>
                <a:ext uri="{FF2B5EF4-FFF2-40B4-BE49-F238E27FC236}">
                  <a16:creationId xmlns:a16="http://schemas.microsoft.com/office/drawing/2014/main" id="{679F26A2-6F07-498C-9784-653EA60F672B}"/>
                </a:ext>
              </a:extLst>
            </p:cNvPr>
            <p:cNvSpPr/>
            <p:nvPr userDrawn="1"/>
          </p:nvSpPr>
          <p:spPr bwMode="auto">
            <a:xfrm>
              <a:off x="3613451" y="5132196"/>
              <a:ext cx="366372" cy="142137"/>
            </a:xfrm>
            <a:custGeom>
              <a:avLst/>
              <a:gdLst>
                <a:gd name="T0" fmla="*/ 0 w 129"/>
                <a:gd name="T1" fmla="*/ 0 h 50"/>
                <a:gd name="T2" fmla="*/ 62 w 129"/>
                <a:gd name="T3" fmla="*/ 0 h 50"/>
                <a:gd name="T4" fmla="*/ 129 w 129"/>
                <a:gd name="T5" fmla="*/ 50 h 50"/>
                <a:gd name="T6" fmla="*/ 0 w 129"/>
                <a:gd name="T7" fmla="*/ 50 h 50"/>
                <a:gd name="T8" fmla="*/ 0 w 129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50">
                  <a:moveTo>
                    <a:pt x="0" y="0"/>
                  </a:moveTo>
                  <a:cubicBezTo>
                    <a:pt x="62" y="0"/>
                    <a:pt x="62" y="0"/>
                    <a:pt x="62" y="0"/>
                  </a:cubicBezTo>
                  <a:cubicBezTo>
                    <a:pt x="62" y="0"/>
                    <a:pt x="129" y="6"/>
                    <a:pt x="129" y="50"/>
                  </a:cubicBezTo>
                  <a:cubicBezTo>
                    <a:pt x="0" y="50"/>
                    <a:pt x="0" y="50"/>
                    <a:pt x="0" y="5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331D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ís1îḓe">
              <a:extLst>
                <a:ext uri="{FF2B5EF4-FFF2-40B4-BE49-F238E27FC236}">
                  <a16:creationId xmlns:a16="http://schemas.microsoft.com/office/drawing/2014/main" id="{88F5140E-0499-4892-AFCC-DF03767705D0}"/>
                </a:ext>
              </a:extLst>
            </p:cNvPr>
            <p:cNvSpPr/>
            <p:nvPr userDrawn="1"/>
          </p:nvSpPr>
          <p:spPr bwMode="auto">
            <a:xfrm>
              <a:off x="2856203" y="4188698"/>
              <a:ext cx="583253" cy="943498"/>
            </a:xfrm>
            <a:custGeom>
              <a:avLst/>
              <a:gdLst>
                <a:gd name="T0" fmla="*/ 205 w 205"/>
                <a:gd name="T1" fmla="*/ 0 h 332"/>
                <a:gd name="T2" fmla="*/ 78 w 205"/>
                <a:gd name="T3" fmla="*/ 0 h 332"/>
                <a:gd name="T4" fmla="*/ 71 w 205"/>
                <a:gd name="T5" fmla="*/ 1 h 332"/>
                <a:gd name="T6" fmla="*/ 10 w 205"/>
                <a:gd name="T7" fmla="*/ 90 h 332"/>
                <a:gd name="T8" fmla="*/ 62 w 205"/>
                <a:gd name="T9" fmla="*/ 332 h 332"/>
                <a:gd name="T10" fmla="*/ 136 w 205"/>
                <a:gd name="T11" fmla="*/ 332 h 332"/>
                <a:gd name="T12" fmla="*/ 100 w 205"/>
                <a:gd name="T13" fmla="*/ 102 h 332"/>
                <a:gd name="T14" fmla="*/ 205 w 205"/>
                <a:gd name="T15" fmla="*/ 102 h 332"/>
                <a:gd name="T16" fmla="*/ 205 w 205"/>
                <a:gd name="T17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5" h="332">
                  <a:moveTo>
                    <a:pt x="205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76" y="0"/>
                    <a:pt x="74" y="0"/>
                    <a:pt x="71" y="1"/>
                  </a:cubicBezTo>
                  <a:cubicBezTo>
                    <a:pt x="28" y="5"/>
                    <a:pt x="0" y="48"/>
                    <a:pt x="10" y="90"/>
                  </a:cubicBezTo>
                  <a:cubicBezTo>
                    <a:pt x="62" y="332"/>
                    <a:pt x="62" y="332"/>
                    <a:pt x="62" y="332"/>
                  </a:cubicBezTo>
                  <a:cubicBezTo>
                    <a:pt x="136" y="332"/>
                    <a:pt x="136" y="332"/>
                    <a:pt x="136" y="332"/>
                  </a:cubicBezTo>
                  <a:cubicBezTo>
                    <a:pt x="100" y="102"/>
                    <a:pt x="100" y="102"/>
                    <a:pt x="100" y="102"/>
                  </a:cubicBezTo>
                  <a:cubicBezTo>
                    <a:pt x="205" y="102"/>
                    <a:pt x="205" y="102"/>
                    <a:pt x="205" y="102"/>
                  </a:cubicBezTo>
                  <a:cubicBezTo>
                    <a:pt x="205" y="0"/>
                    <a:pt x="205" y="0"/>
                    <a:pt x="205" y="0"/>
                  </a:cubicBezTo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ïṥļîdê">
              <a:extLst>
                <a:ext uri="{FF2B5EF4-FFF2-40B4-BE49-F238E27FC236}">
                  <a16:creationId xmlns:a16="http://schemas.microsoft.com/office/drawing/2014/main" id="{8937C7A2-E716-4C3D-BEF9-42ED86EFFE95}"/>
                </a:ext>
              </a:extLst>
            </p:cNvPr>
            <p:cNvSpPr/>
            <p:nvPr userDrawn="1"/>
          </p:nvSpPr>
          <p:spPr bwMode="auto">
            <a:xfrm>
              <a:off x="3073085" y="2915589"/>
              <a:ext cx="147038" cy="219333"/>
            </a:xfrm>
            <a:custGeom>
              <a:avLst/>
              <a:gdLst>
                <a:gd name="T0" fmla="*/ 52 w 52"/>
                <a:gd name="T1" fmla="*/ 25 h 77"/>
                <a:gd name="T2" fmla="*/ 18 w 52"/>
                <a:gd name="T3" fmla="*/ 14 h 77"/>
                <a:gd name="T4" fmla="*/ 52 w 52"/>
                <a:gd name="T5" fmla="*/ 69 h 77"/>
                <a:gd name="T6" fmla="*/ 52 w 52"/>
                <a:gd name="T7" fmla="*/ 2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77">
                  <a:moveTo>
                    <a:pt x="52" y="25"/>
                  </a:moveTo>
                  <a:cubicBezTo>
                    <a:pt x="52" y="25"/>
                    <a:pt x="36" y="0"/>
                    <a:pt x="18" y="14"/>
                  </a:cubicBezTo>
                  <a:cubicBezTo>
                    <a:pt x="0" y="27"/>
                    <a:pt x="19" y="77"/>
                    <a:pt x="52" y="69"/>
                  </a:cubicBezTo>
                  <a:lnTo>
                    <a:pt x="52" y="25"/>
                  </a:ln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isḻîḋè">
              <a:extLst>
                <a:ext uri="{FF2B5EF4-FFF2-40B4-BE49-F238E27FC236}">
                  <a16:creationId xmlns:a16="http://schemas.microsoft.com/office/drawing/2014/main" id="{DC95E2C6-9082-4308-BBB6-3669C50628B9}"/>
                </a:ext>
              </a:extLst>
            </p:cNvPr>
            <p:cNvSpPr/>
            <p:nvPr userDrawn="1"/>
          </p:nvSpPr>
          <p:spPr bwMode="auto">
            <a:xfrm>
              <a:off x="3106168" y="2969504"/>
              <a:ext cx="113955" cy="137236"/>
            </a:xfrm>
            <a:custGeom>
              <a:avLst/>
              <a:gdLst>
                <a:gd name="T0" fmla="*/ 40 w 40"/>
                <a:gd name="T1" fmla="*/ 23 h 48"/>
                <a:gd name="T2" fmla="*/ 40 w 40"/>
                <a:gd name="T3" fmla="*/ 45 h 48"/>
                <a:gd name="T4" fmla="*/ 13 w 40"/>
                <a:gd name="T5" fmla="*/ 3 h 48"/>
                <a:gd name="T6" fmla="*/ 40 w 40"/>
                <a:gd name="T7" fmla="*/ 2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48">
                  <a:moveTo>
                    <a:pt x="40" y="23"/>
                  </a:moveTo>
                  <a:cubicBezTo>
                    <a:pt x="40" y="45"/>
                    <a:pt x="40" y="45"/>
                    <a:pt x="40" y="45"/>
                  </a:cubicBezTo>
                  <a:cubicBezTo>
                    <a:pt x="12" y="48"/>
                    <a:pt x="0" y="8"/>
                    <a:pt x="13" y="3"/>
                  </a:cubicBezTo>
                  <a:cubicBezTo>
                    <a:pt x="24" y="0"/>
                    <a:pt x="35" y="15"/>
                    <a:pt x="40" y="23"/>
                  </a:cubicBezTo>
                  <a:close/>
                </a:path>
              </a:pathLst>
            </a:custGeom>
            <a:solidFill>
              <a:srgbClr val="F7A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íṥľïḓê">
              <a:extLst>
                <a:ext uri="{FF2B5EF4-FFF2-40B4-BE49-F238E27FC236}">
                  <a16:creationId xmlns:a16="http://schemas.microsoft.com/office/drawing/2014/main" id="{F15034DD-4139-4A5D-A1FC-BD130ED0B7CC}"/>
                </a:ext>
              </a:extLst>
            </p:cNvPr>
            <p:cNvSpPr/>
            <p:nvPr userDrawn="1"/>
          </p:nvSpPr>
          <p:spPr bwMode="auto">
            <a:xfrm>
              <a:off x="3129450" y="2973179"/>
              <a:ext cx="90673" cy="62492"/>
            </a:xfrm>
            <a:custGeom>
              <a:avLst/>
              <a:gdLst>
                <a:gd name="T0" fmla="*/ 0 w 32"/>
                <a:gd name="T1" fmla="*/ 10 h 22"/>
                <a:gd name="T2" fmla="*/ 0 w 32"/>
                <a:gd name="T3" fmla="*/ 10 h 22"/>
                <a:gd name="T4" fmla="*/ 0 w 32"/>
                <a:gd name="T5" fmla="*/ 8 h 22"/>
                <a:gd name="T6" fmla="*/ 3 w 32"/>
                <a:gd name="T7" fmla="*/ 5 h 22"/>
                <a:gd name="T8" fmla="*/ 4 w 32"/>
                <a:gd name="T9" fmla="*/ 4 h 22"/>
                <a:gd name="T10" fmla="*/ 5 w 32"/>
                <a:gd name="T11" fmla="*/ 4 h 22"/>
                <a:gd name="T12" fmla="*/ 5 w 32"/>
                <a:gd name="T13" fmla="*/ 4 h 22"/>
                <a:gd name="T14" fmla="*/ 5 w 32"/>
                <a:gd name="T15" fmla="*/ 4 h 22"/>
                <a:gd name="T16" fmla="*/ 5 w 32"/>
                <a:gd name="T17" fmla="*/ 4 h 22"/>
                <a:gd name="T18" fmla="*/ 5 w 32"/>
                <a:gd name="T19" fmla="*/ 4 h 22"/>
                <a:gd name="T20" fmla="*/ 5 w 32"/>
                <a:gd name="T21" fmla="*/ 4 h 22"/>
                <a:gd name="T22" fmla="*/ 5 w 32"/>
                <a:gd name="T23" fmla="*/ 4 h 22"/>
                <a:gd name="T24" fmla="*/ 6 w 32"/>
                <a:gd name="T25" fmla="*/ 4 h 22"/>
                <a:gd name="T26" fmla="*/ 7 w 32"/>
                <a:gd name="T27" fmla="*/ 4 h 22"/>
                <a:gd name="T28" fmla="*/ 8 w 32"/>
                <a:gd name="T29" fmla="*/ 4 h 22"/>
                <a:gd name="T30" fmla="*/ 8 w 32"/>
                <a:gd name="T31" fmla="*/ 4 h 22"/>
                <a:gd name="T32" fmla="*/ 9 w 32"/>
                <a:gd name="T33" fmla="*/ 4 h 22"/>
                <a:gd name="T34" fmla="*/ 16 w 32"/>
                <a:gd name="T35" fmla="*/ 7 h 22"/>
                <a:gd name="T36" fmla="*/ 19 w 32"/>
                <a:gd name="T37" fmla="*/ 9 h 22"/>
                <a:gd name="T38" fmla="*/ 22 w 32"/>
                <a:gd name="T39" fmla="*/ 12 h 22"/>
                <a:gd name="T40" fmla="*/ 27 w 32"/>
                <a:gd name="T41" fmla="*/ 17 h 22"/>
                <a:gd name="T42" fmla="*/ 32 w 32"/>
                <a:gd name="T43" fmla="*/ 22 h 22"/>
                <a:gd name="T44" fmla="*/ 31 w 32"/>
                <a:gd name="T45" fmla="*/ 20 h 22"/>
                <a:gd name="T46" fmla="*/ 29 w 32"/>
                <a:gd name="T47" fmla="*/ 15 h 22"/>
                <a:gd name="T48" fmla="*/ 27 w 32"/>
                <a:gd name="T49" fmla="*/ 12 h 22"/>
                <a:gd name="T50" fmla="*/ 25 w 32"/>
                <a:gd name="T51" fmla="*/ 9 h 22"/>
                <a:gd name="T52" fmla="*/ 18 w 32"/>
                <a:gd name="T53" fmla="*/ 4 h 22"/>
                <a:gd name="T54" fmla="*/ 14 w 32"/>
                <a:gd name="T55" fmla="*/ 1 h 22"/>
                <a:gd name="T56" fmla="*/ 10 w 32"/>
                <a:gd name="T57" fmla="*/ 0 h 22"/>
                <a:gd name="T58" fmla="*/ 8 w 32"/>
                <a:gd name="T59" fmla="*/ 0 h 22"/>
                <a:gd name="T60" fmla="*/ 7 w 32"/>
                <a:gd name="T61" fmla="*/ 0 h 22"/>
                <a:gd name="T62" fmla="*/ 6 w 32"/>
                <a:gd name="T63" fmla="*/ 1 h 22"/>
                <a:gd name="T64" fmla="*/ 5 w 32"/>
                <a:gd name="T65" fmla="*/ 1 h 22"/>
                <a:gd name="T66" fmla="*/ 5 w 32"/>
                <a:gd name="T67" fmla="*/ 1 h 22"/>
                <a:gd name="T68" fmla="*/ 4 w 32"/>
                <a:gd name="T69" fmla="*/ 1 h 22"/>
                <a:gd name="T70" fmla="*/ 4 w 32"/>
                <a:gd name="T71" fmla="*/ 1 h 22"/>
                <a:gd name="T72" fmla="*/ 3 w 32"/>
                <a:gd name="T73" fmla="*/ 2 h 22"/>
                <a:gd name="T74" fmla="*/ 2 w 32"/>
                <a:gd name="T75" fmla="*/ 3 h 22"/>
                <a:gd name="T76" fmla="*/ 0 w 32"/>
                <a:gd name="T77" fmla="*/ 6 h 22"/>
                <a:gd name="T78" fmla="*/ 0 w 32"/>
                <a:gd name="T79" fmla="*/ 8 h 22"/>
                <a:gd name="T80" fmla="*/ 0 w 32"/>
                <a:gd name="T81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" h="2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9"/>
                    <a:pt x="0" y="9"/>
                    <a:pt x="0" y="8"/>
                  </a:cubicBezTo>
                  <a:cubicBezTo>
                    <a:pt x="1" y="7"/>
                    <a:pt x="2" y="6"/>
                    <a:pt x="3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1" y="4"/>
                    <a:pt x="14" y="5"/>
                    <a:pt x="16" y="7"/>
                  </a:cubicBezTo>
                  <a:cubicBezTo>
                    <a:pt x="17" y="7"/>
                    <a:pt x="18" y="8"/>
                    <a:pt x="19" y="9"/>
                  </a:cubicBezTo>
                  <a:cubicBezTo>
                    <a:pt x="20" y="10"/>
                    <a:pt x="21" y="11"/>
                    <a:pt x="22" y="12"/>
                  </a:cubicBezTo>
                  <a:cubicBezTo>
                    <a:pt x="24" y="13"/>
                    <a:pt x="26" y="15"/>
                    <a:pt x="27" y="17"/>
                  </a:cubicBezTo>
                  <a:cubicBezTo>
                    <a:pt x="30" y="20"/>
                    <a:pt x="32" y="22"/>
                    <a:pt x="32" y="22"/>
                  </a:cubicBezTo>
                  <a:cubicBezTo>
                    <a:pt x="32" y="22"/>
                    <a:pt x="32" y="21"/>
                    <a:pt x="31" y="20"/>
                  </a:cubicBezTo>
                  <a:cubicBezTo>
                    <a:pt x="31" y="19"/>
                    <a:pt x="30" y="17"/>
                    <a:pt x="29" y="15"/>
                  </a:cubicBezTo>
                  <a:cubicBezTo>
                    <a:pt x="28" y="14"/>
                    <a:pt x="28" y="13"/>
                    <a:pt x="27" y="12"/>
                  </a:cubicBezTo>
                  <a:cubicBezTo>
                    <a:pt x="26" y="11"/>
                    <a:pt x="25" y="10"/>
                    <a:pt x="25" y="9"/>
                  </a:cubicBezTo>
                  <a:cubicBezTo>
                    <a:pt x="23" y="7"/>
                    <a:pt x="21" y="5"/>
                    <a:pt x="18" y="4"/>
                  </a:cubicBezTo>
                  <a:cubicBezTo>
                    <a:pt x="17" y="3"/>
                    <a:pt x="15" y="2"/>
                    <a:pt x="14" y="1"/>
                  </a:cubicBezTo>
                  <a:cubicBezTo>
                    <a:pt x="13" y="1"/>
                    <a:pt x="11" y="1"/>
                    <a:pt x="10" y="0"/>
                  </a:cubicBezTo>
                  <a:cubicBezTo>
                    <a:pt x="9" y="0"/>
                    <a:pt x="9" y="0"/>
                    <a:pt x="8" y="0"/>
                  </a:cubicBezTo>
                  <a:cubicBezTo>
                    <a:pt x="8" y="0"/>
                    <a:pt x="8" y="0"/>
                    <a:pt x="7" y="0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6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2" y="3"/>
                    <a:pt x="2" y="3"/>
                  </a:cubicBezTo>
                  <a:cubicBezTo>
                    <a:pt x="1" y="4"/>
                    <a:pt x="0" y="5"/>
                    <a:pt x="0" y="6"/>
                  </a:cubicBezTo>
                  <a:cubicBezTo>
                    <a:pt x="0" y="7"/>
                    <a:pt x="0" y="7"/>
                    <a:pt x="0" y="8"/>
                  </a:cubicBezTo>
                  <a:cubicBezTo>
                    <a:pt x="0" y="9"/>
                    <a:pt x="0" y="9"/>
                    <a:pt x="0" y="1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íş1íḋê">
              <a:extLst>
                <a:ext uri="{FF2B5EF4-FFF2-40B4-BE49-F238E27FC236}">
                  <a16:creationId xmlns:a16="http://schemas.microsoft.com/office/drawing/2014/main" id="{7FA3233B-B5FE-4ED5-806B-A330FAD55AC1}"/>
                </a:ext>
              </a:extLst>
            </p:cNvPr>
            <p:cNvSpPr/>
            <p:nvPr userDrawn="1"/>
          </p:nvSpPr>
          <p:spPr bwMode="auto">
            <a:xfrm>
              <a:off x="3678394" y="2967053"/>
              <a:ext cx="165419" cy="221784"/>
            </a:xfrm>
            <a:custGeom>
              <a:avLst/>
              <a:gdLst>
                <a:gd name="T0" fmla="*/ 7 w 58"/>
                <a:gd name="T1" fmla="*/ 22 h 78"/>
                <a:gd name="T2" fmla="*/ 43 w 58"/>
                <a:gd name="T3" fmla="*/ 16 h 78"/>
                <a:gd name="T4" fmla="*/ 0 w 58"/>
                <a:gd name="T5" fmla="*/ 65 h 78"/>
                <a:gd name="T6" fmla="*/ 7 w 58"/>
                <a:gd name="T7" fmla="*/ 2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78">
                  <a:moveTo>
                    <a:pt x="7" y="22"/>
                  </a:moveTo>
                  <a:cubicBezTo>
                    <a:pt x="7" y="22"/>
                    <a:pt x="27" y="0"/>
                    <a:pt x="43" y="16"/>
                  </a:cubicBezTo>
                  <a:cubicBezTo>
                    <a:pt x="58" y="33"/>
                    <a:pt x="31" y="78"/>
                    <a:pt x="0" y="65"/>
                  </a:cubicBezTo>
                  <a:lnTo>
                    <a:pt x="7" y="22"/>
                  </a:ln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íṧḷíďè">
              <a:extLst>
                <a:ext uri="{FF2B5EF4-FFF2-40B4-BE49-F238E27FC236}">
                  <a16:creationId xmlns:a16="http://schemas.microsoft.com/office/drawing/2014/main" id="{CF755CEF-235E-4910-9B47-311E7EE20948}"/>
                </a:ext>
              </a:extLst>
            </p:cNvPr>
            <p:cNvSpPr/>
            <p:nvPr userDrawn="1"/>
          </p:nvSpPr>
          <p:spPr bwMode="auto">
            <a:xfrm>
              <a:off x="3678394" y="3020968"/>
              <a:ext cx="133561" cy="136011"/>
            </a:xfrm>
            <a:custGeom>
              <a:avLst/>
              <a:gdLst>
                <a:gd name="T0" fmla="*/ 4 w 47"/>
                <a:gd name="T1" fmla="*/ 19 h 48"/>
                <a:gd name="T2" fmla="*/ 0 w 47"/>
                <a:gd name="T3" fmla="*/ 41 h 48"/>
                <a:gd name="T4" fmla="*/ 34 w 47"/>
                <a:gd name="T5" fmla="*/ 5 h 48"/>
                <a:gd name="T6" fmla="*/ 4 w 47"/>
                <a:gd name="T7" fmla="*/ 19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" h="48">
                  <a:moveTo>
                    <a:pt x="4" y="19"/>
                  </a:moveTo>
                  <a:cubicBezTo>
                    <a:pt x="0" y="41"/>
                    <a:pt x="0" y="41"/>
                    <a:pt x="0" y="41"/>
                  </a:cubicBezTo>
                  <a:cubicBezTo>
                    <a:pt x="28" y="48"/>
                    <a:pt x="47" y="11"/>
                    <a:pt x="34" y="5"/>
                  </a:cubicBezTo>
                  <a:cubicBezTo>
                    <a:pt x="24" y="0"/>
                    <a:pt x="10" y="12"/>
                    <a:pt x="4" y="19"/>
                  </a:cubicBezTo>
                  <a:close/>
                </a:path>
              </a:pathLst>
            </a:custGeom>
            <a:solidFill>
              <a:srgbClr val="F7A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ïşlíďe">
              <a:extLst>
                <a:ext uri="{FF2B5EF4-FFF2-40B4-BE49-F238E27FC236}">
                  <a16:creationId xmlns:a16="http://schemas.microsoft.com/office/drawing/2014/main" id="{564DCA01-4D4E-4203-AC3D-91DD158DF283}"/>
                </a:ext>
              </a:extLst>
            </p:cNvPr>
            <p:cNvSpPr/>
            <p:nvPr userDrawn="1"/>
          </p:nvSpPr>
          <p:spPr bwMode="auto">
            <a:xfrm>
              <a:off x="3690647" y="3027094"/>
              <a:ext cx="95575" cy="47788"/>
            </a:xfrm>
            <a:custGeom>
              <a:avLst/>
              <a:gdLst>
                <a:gd name="T0" fmla="*/ 34 w 34"/>
                <a:gd name="T1" fmla="*/ 11 h 17"/>
                <a:gd name="T2" fmla="*/ 34 w 34"/>
                <a:gd name="T3" fmla="*/ 10 h 17"/>
                <a:gd name="T4" fmla="*/ 34 w 34"/>
                <a:gd name="T5" fmla="*/ 9 h 17"/>
                <a:gd name="T6" fmla="*/ 31 w 34"/>
                <a:gd name="T7" fmla="*/ 5 h 17"/>
                <a:gd name="T8" fmla="*/ 30 w 34"/>
                <a:gd name="T9" fmla="*/ 4 h 17"/>
                <a:gd name="T10" fmla="*/ 30 w 34"/>
                <a:gd name="T11" fmla="*/ 4 h 17"/>
                <a:gd name="T12" fmla="*/ 30 w 34"/>
                <a:gd name="T13" fmla="*/ 4 h 17"/>
                <a:gd name="T14" fmla="*/ 30 w 34"/>
                <a:gd name="T15" fmla="*/ 4 h 17"/>
                <a:gd name="T16" fmla="*/ 30 w 34"/>
                <a:gd name="T17" fmla="*/ 4 h 17"/>
                <a:gd name="T18" fmla="*/ 30 w 34"/>
                <a:gd name="T19" fmla="*/ 4 h 17"/>
                <a:gd name="T20" fmla="*/ 30 w 34"/>
                <a:gd name="T21" fmla="*/ 4 h 17"/>
                <a:gd name="T22" fmla="*/ 29 w 34"/>
                <a:gd name="T23" fmla="*/ 4 h 17"/>
                <a:gd name="T24" fmla="*/ 29 w 34"/>
                <a:gd name="T25" fmla="*/ 4 h 17"/>
                <a:gd name="T26" fmla="*/ 28 w 34"/>
                <a:gd name="T27" fmla="*/ 3 h 17"/>
                <a:gd name="T28" fmla="*/ 27 w 34"/>
                <a:gd name="T29" fmla="*/ 3 h 17"/>
                <a:gd name="T30" fmla="*/ 27 w 34"/>
                <a:gd name="T31" fmla="*/ 3 h 17"/>
                <a:gd name="T32" fmla="*/ 26 w 34"/>
                <a:gd name="T33" fmla="*/ 3 h 17"/>
                <a:gd name="T34" fmla="*/ 19 w 34"/>
                <a:gd name="T35" fmla="*/ 5 h 17"/>
                <a:gd name="T36" fmla="*/ 15 w 34"/>
                <a:gd name="T37" fmla="*/ 7 h 17"/>
                <a:gd name="T38" fmla="*/ 12 w 34"/>
                <a:gd name="T39" fmla="*/ 9 h 17"/>
                <a:gd name="T40" fmla="*/ 6 w 34"/>
                <a:gd name="T41" fmla="*/ 13 h 17"/>
                <a:gd name="T42" fmla="*/ 0 w 34"/>
                <a:gd name="T43" fmla="*/ 17 h 17"/>
                <a:gd name="T44" fmla="*/ 1 w 34"/>
                <a:gd name="T45" fmla="*/ 15 h 17"/>
                <a:gd name="T46" fmla="*/ 4 w 34"/>
                <a:gd name="T47" fmla="*/ 11 h 17"/>
                <a:gd name="T48" fmla="*/ 7 w 34"/>
                <a:gd name="T49" fmla="*/ 9 h 17"/>
                <a:gd name="T50" fmla="*/ 10 w 34"/>
                <a:gd name="T51" fmla="*/ 6 h 17"/>
                <a:gd name="T52" fmla="*/ 17 w 34"/>
                <a:gd name="T53" fmla="*/ 1 h 17"/>
                <a:gd name="T54" fmla="*/ 21 w 34"/>
                <a:gd name="T55" fmla="*/ 0 h 17"/>
                <a:gd name="T56" fmla="*/ 26 w 34"/>
                <a:gd name="T57" fmla="*/ 0 h 17"/>
                <a:gd name="T58" fmla="*/ 27 w 34"/>
                <a:gd name="T59" fmla="*/ 0 h 17"/>
                <a:gd name="T60" fmla="*/ 28 w 34"/>
                <a:gd name="T61" fmla="*/ 0 h 17"/>
                <a:gd name="T62" fmla="*/ 29 w 34"/>
                <a:gd name="T63" fmla="*/ 1 h 17"/>
                <a:gd name="T64" fmla="*/ 30 w 34"/>
                <a:gd name="T65" fmla="*/ 1 h 17"/>
                <a:gd name="T66" fmla="*/ 31 w 34"/>
                <a:gd name="T67" fmla="*/ 1 h 17"/>
                <a:gd name="T68" fmla="*/ 31 w 34"/>
                <a:gd name="T69" fmla="*/ 1 h 17"/>
                <a:gd name="T70" fmla="*/ 31 w 34"/>
                <a:gd name="T71" fmla="*/ 2 h 17"/>
                <a:gd name="T72" fmla="*/ 32 w 34"/>
                <a:gd name="T73" fmla="*/ 2 h 17"/>
                <a:gd name="T74" fmla="*/ 33 w 34"/>
                <a:gd name="T75" fmla="*/ 4 h 17"/>
                <a:gd name="T76" fmla="*/ 34 w 34"/>
                <a:gd name="T77" fmla="*/ 7 h 17"/>
                <a:gd name="T78" fmla="*/ 34 w 34"/>
                <a:gd name="T79" fmla="*/ 9 h 17"/>
                <a:gd name="T80" fmla="*/ 34 w 34"/>
                <a:gd name="T81" fmla="*/ 10 h 17"/>
                <a:gd name="T82" fmla="*/ 34 w 34"/>
                <a:gd name="T83" fmla="*/ 1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4" h="17">
                  <a:moveTo>
                    <a:pt x="34" y="11"/>
                  </a:moveTo>
                  <a:cubicBezTo>
                    <a:pt x="34" y="10"/>
                    <a:pt x="34" y="10"/>
                    <a:pt x="34" y="10"/>
                  </a:cubicBezTo>
                  <a:cubicBezTo>
                    <a:pt x="34" y="10"/>
                    <a:pt x="34" y="10"/>
                    <a:pt x="34" y="9"/>
                  </a:cubicBezTo>
                  <a:cubicBezTo>
                    <a:pt x="33" y="8"/>
                    <a:pt x="33" y="6"/>
                    <a:pt x="31" y="5"/>
                  </a:cubicBezTo>
                  <a:cubicBezTo>
                    <a:pt x="31" y="5"/>
                    <a:pt x="31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3" y="3"/>
                    <a:pt x="21" y="4"/>
                    <a:pt x="19" y="5"/>
                  </a:cubicBezTo>
                  <a:cubicBezTo>
                    <a:pt x="17" y="5"/>
                    <a:pt x="16" y="6"/>
                    <a:pt x="15" y="7"/>
                  </a:cubicBezTo>
                  <a:cubicBezTo>
                    <a:pt x="14" y="7"/>
                    <a:pt x="13" y="8"/>
                    <a:pt x="12" y="9"/>
                  </a:cubicBezTo>
                  <a:cubicBezTo>
                    <a:pt x="10" y="10"/>
                    <a:pt x="8" y="12"/>
                    <a:pt x="6" y="13"/>
                  </a:cubicBezTo>
                  <a:cubicBezTo>
                    <a:pt x="3" y="15"/>
                    <a:pt x="0" y="17"/>
                    <a:pt x="0" y="17"/>
                  </a:cubicBezTo>
                  <a:cubicBezTo>
                    <a:pt x="0" y="17"/>
                    <a:pt x="1" y="16"/>
                    <a:pt x="1" y="15"/>
                  </a:cubicBezTo>
                  <a:cubicBezTo>
                    <a:pt x="2" y="14"/>
                    <a:pt x="3" y="13"/>
                    <a:pt x="4" y="11"/>
                  </a:cubicBezTo>
                  <a:cubicBezTo>
                    <a:pt x="5" y="10"/>
                    <a:pt x="6" y="10"/>
                    <a:pt x="7" y="9"/>
                  </a:cubicBezTo>
                  <a:cubicBezTo>
                    <a:pt x="8" y="8"/>
                    <a:pt x="9" y="7"/>
                    <a:pt x="10" y="6"/>
                  </a:cubicBezTo>
                  <a:cubicBezTo>
                    <a:pt x="12" y="4"/>
                    <a:pt x="14" y="3"/>
                    <a:pt x="17" y="1"/>
                  </a:cubicBezTo>
                  <a:cubicBezTo>
                    <a:pt x="18" y="1"/>
                    <a:pt x="20" y="0"/>
                    <a:pt x="21" y="0"/>
                  </a:cubicBezTo>
                  <a:cubicBezTo>
                    <a:pt x="23" y="0"/>
                    <a:pt x="24" y="0"/>
                    <a:pt x="26" y="0"/>
                  </a:cubicBezTo>
                  <a:cubicBezTo>
                    <a:pt x="26" y="0"/>
                    <a:pt x="27" y="0"/>
                    <a:pt x="27" y="0"/>
                  </a:cubicBezTo>
                  <a:cubicBezTo>
                    <a:pt x="27" y="0"/>
                    <a:pt x="28" y="0"/>
                    <a:pt x="28" y="0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3"/>
                    <a:pt x="33" y="3"/>
                    <a:pt x="33" y="4"/>
                  </a:cubicBezTo>
                  <a:cubicBezTo>
                    <a:pt x="34" y="5"/>
                    <a:pt x="34" y="6"/>
                    <a:pt x="34" y="7"/>
                  </a:cubicBezTo>
                  <a:cubicBezTo>
                    <a:pt x="34" y="8"/>
                    <a:pt x="34" y="8"/>
                    <a:pt x="34" y="9"/>
                  </a:cubicBezTo>
                  <a:cubicBezTo>
                    <a:pt x="34" y="10"/>
                    <a:pt x="34" y="10"/>
                    <a:pt x="34" y="10"/>
                  </a:cubicBezTo>
                  <a:lnTo>
                    <a:pt x="34" y="11"/>
                  </a:ln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íṧ1iḍé">
              <a:extLst>
                <a:ext uri="{FF2B5EF4-FFF2-40B4-BE49-F238E27FC236}">
                  <a16:creationId xmlns:a16="http://schemas.microsoft.com/office/drawing/2014/main" id="{F7C9D85A-62D0-4F60-844E-CBE9328B058E}"/>
                </a:ext>
              </a:extLst>
            </p:cNvPr>
            <p:cNvSpPr/>
            <p:nvPr userDrawn="1"/>
          </p:nvSpPr>
          <p:spPr bwMode="auto">
            <a:xfrm>
              <a:off x="3370838" y="3214568"/>
              <a:ext cx="139687" cy="246290"/>
            </a:xfrm>
            <a:custGeom>
              <a:avLst/>
              <a:gdLst>
                <a:gd name="T0" fmla="*/ 1 w 49"/>
                <a:gd name="T1" fmla="*/ 0 h 87"/>
                <a:gd name="T2" fmla="*/ 47 w 49"/>
                <a:gd name="T3" fmla="*/ 0 h 87"/>
                <a:gd name="T4" fmla="*/ 49 w 49"/>
                <a:gd name="T5" fmla="*/ 72 h 87"/>
                <a:gd name="T6" fmla="*/ 25 w 49"/>
                <a:gd name="T7" fmla="*/ 86 h 87"/>
                <a:gd name="T8" fmla="*/ 0 w 49"/>
                <a:gd name="T9" fmla="*/ 72 h 87"/>
                <a:gd name="T10" fmla="*/ 1 w 49"/>
                <a:gd name="T11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" h="87">
                  <a:moveTo>
                    <a:pt x="1" y="0"/>
                  </a:moveTo>
                  <a:cubicBezTo>
                    <a:pt x="47" y="0"/>
                    <a:pt x="47" y="0"/>
                    <a:pt x="47" y="0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5" y="86"/>
                    <a:pt x="25" y="86"/>
                  </a:cubicBezTo>
                  <a:cubicBezTo>
                    <a:pt x="5" y="87"/>
                    <a:pt x="0" y="72"/>
                    <a:pt x="0" y="72"/>
                  </a:cubicBezTo>
                  <a:cubicBezTo>
                    <a:pt x="0" y="7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íSḷíḍé">
              <a:extLst>
                <a:ext uri="{FF2B5EF4-FFF2-40B4-BE49-F238E27FC236}">
                  <a16:creationId xmlns:a16="http://schemas.microsoft.com/office/drawing/2014/main" id="{8444D3B0-2E49-4319-8C2D-7129D1A8ACEC}"/>
                </a:ext>
              </a:extLst>
            </p:cNvPr>
            <p:cNvSpPr/>
            <p:nvPr userDrawn="1"/>
          </p:nvSpPr>
          <p:spPr bwMode="auto">
            <a:xfrm>
              <a:off x="3370838" y="3214568"/>
              <a:ext cx="139687" cy="246290"/>
            </a:xfrm>
            <a:custGeom>
              <a:avLst/>
              <a:gdLst>
                <a:gd name="T0" fmla="*/ 1 w 49"/>
                <a:gd name="T1" fmla="*/ 0 h 87"/>
                <a:gd name="T2" fmla="*/ 47 w 49"/>
                <a:gd name="T3" fmla="*/ 0 h 87"/>
                <a:gd name="T4" fmla="*/ 49 w 49"/>
                <a:gd name="T5" fmla="*/ 72 h 87"/>
                <a:gd name="T6" fmla="*/ 25 w 49"/>
                <a:gd name="T7" fmla="*/ 86 h 87"/>
                <a:gd name="T8" fmla="*/ 0 w 49"/>
                <a:gd name="T9" fmla="*/ 72 h 87"/>
                <a:gd name="T10" fmla="*/ 1 w 49"/>
                <a:gd name="T11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" h="87">
                  <a:moveTo>
                    <a:pt x="1" y="0"/>
                  </a:moveTo>
                  <a:cubicBezTo>
                    <a:pt x="47" y="0"/>
                    <a:pt x="47" y="0"/>
                    <a:pt x="47" y="0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5" y="86"/>
                    <a:pt x="25" y="86"/>
                  </a:cubicBezTo>
                  <a:cubicBezTo>
                    <a:pt x="5" y="87"/>
                    <a:pt x="0" y="72"/>
                    <a:pt x="0" y="72"/>
                  </a:cubicBezTo>
                  <a:cubicBezTo>
                    <a:pt x="0" y="7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ï$lïďê">
              <a:extLst>
                <a:ext uri="{FF2B5EF4-FFF2-40B4-BE49-F238E27FC236}">
                  <a16:creationId xmlns:a16="http://schemas.microsoft.com/office/drawing/2014/main" id="{1FEAE8C5-DC59-4A3D-B5AA-92883DF37022}"/>
                </a:ext>
              </a:extLst>
            </p:cNvPr>
            <p:cNvSpPr/>
            <p:nvPr userDrawn="1"/>
          </p:nvSpPr>
          <p:spPr bwMode="auto">
            <a:xfrm>
              <a:off x="3374514" y="3245201"/>
              <a:ext cx="136011" cy="68618"/>
            </a:xfrm>
            <a:custGeom>
              <a:avLst/>
              <a:gdLst>
                <a:gd name="T0" fmla="*/ 3 w 48"/>
                <a:gd name="T1" fmla="*/ 0 h 24"/>
                <a:gd name="T2" fmla="*/ 48 w 48"/>
                <a:gd name="T3" fmla="*/ 4 h 24"/>
                <a:gd name="T4" fmla="*/ 48 w 48"/>
                <a:gd name="T5" fmla="*/ 21 h 24"/>
                <a:gd name="T6" fmla="*/ 33 w 48"/>
                <a:gd name="T7" fmla="*/ 23 h 24"/>
                <a:gd name="T8" fmla="*/ 0 w 48"/>
                <a:gd name="T9" fmla="*/ 18 h 24"/>
                <a:gd name="T10" fmla="*/ 3 w 48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" h="24">
                  <a:moveTo>
                    <a:pt x="3" y="0"/>
                  </a:moveTo>
                  <a:cubicBezTo>
                    <a:pt x="48" y="4"/>
                    <a:pt x="48" y="4"/>
                    <a:pt x="48" y="4"/>
                  </a:cubicBezTo>
                  <a:cubicBezTo>
                    <a:pt x="48" y="4"/>
                    <a:pt x="48" y="13"/>
                    <a:pt x="48" y="21"/>
                  </a:cubicBezTo>
                  <a:cubicBezTo>
                    <a:pt x="48" y="22"/>
                    <a:pt x="34" y="23"/>
                    <a:pt x="33" y="23"/>
                  </a:cubicBezTo>
                  <a:cubicBezTo>
                    <a:pt x="22" y="24"/>
                    <a:pt x="11" y="22"/>
                    <a:pt x="0" y="18"/>
                  </a:cubicBezTo>
                  <a:cubicBezTo>
                    <a:pt x="1" y="10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iṩlïḍe">
              <a:extLst>
                <a:ext uri="{FF2B5EF4-FFF2-40B4-BE49-F238E27FC236}">
                  <a16:creationId xmlns:a16="http://schemas.microsoft.com/office/drawing/2014/main" id="{F474C644-7DD8-468F-8644-97C12280CA91}"/>
                </a:ext>
              </a:extLst>
            </p:cNvPr>
            <p:cNvSpPr/>
            <p:nvPr userDrawn="1"/>
          </p:nvSpPr>
          <p:spPr bwMode="auto">
            <a:xfrm>
              <a:off x="3185815" y="2714637"/>
              <a:ext cx="558747" cy="605309"/>
            </a:xfrm>
            <a:custGeom>
              <a:avLst/>
              <a:gdLst>
                <a:gd name="T0" fmla="*/ 2 w 196"/>
                <a:gd name="T1" fmla="*/ 75 h 213"/>
                <a:gd name="T2" fmla="*/ 55 w 196"/>
                <a:gd name="T3" fmla="*/ 5 h 213"/>
                <a:gd name="T4" fmla="*/ 106 w 196"/>
                <a:gd name="T5" fmla="*/ 2 h 213"/>
                <a:gd name="T6" fmla="*/ 156 w 196"/>
                <a:gd name="T7" fmla="*/ 14 h 213"/>
                <a:gd name="T8" fmla="*/ 178 w 196"/>
                <a:gd name="T9" fmla="*/ 70 h 213"/>
                <a:gd name="T10" fmla="*/ 196 w 196"/>
                <a:gd name="T11" fmla="*/ 92 h 213"/>
                <a:gd name="T12" fmla="*/ 195 w 196"/>
                <a:gd name="T13" fmla="*/ 111 h 213"/>
                <a:gd name="T14" fmla="*/ 183 w 196"/>
                <a:gd name="T15" fmla="*/ 154 h 213"/>
                <a:gd name="T16" fmla="*/ 150 w 196"/>
                <a:gd name="T17" fmla="*/ 196 h 213"/>
                <a:gd name="T18" fmla="*/ 121 w 196"/>
                <a:gd name="T19" fmla="*/ 208 h 213"/>
                <a:gd name="T20" fmla="*/ 72 w 196"/>
                <a:gd name="T21" fmla="*/ 209 h 213"/>
                <a:gd name="T22" fmla="*/ 41 w 196"/>
                <a:gd name="T23" fmla="*/ 194 h 213"/>
                <a:gd name="T24" fmla="*/ 7 w 196"/>
                <a:gd name="T25" fmla="*/ 149 h 213"/>
                <a:gd name="T26" fmla="*/ 0 w 196"/>
                <a:gd name="T27" fmla="*/ 102 h 213"/>
                <a:gd name="T28" fmla="*/ 2 w 196"/>
                <a:gd name="T29" fmla="*/ 76 h 213"/>
                <a:gd name="T30" fmla="*/ 2 w 196"/>
                <a:gd name="T31" fmla="*/ 75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6" h="213">
                  <a:moveTo>
                    <a:pt x="2" y="75"/>
                  </a:moveTo>
                  <a:cubicBezTo>
                    <a:pt x="6" y="43"/>
                    <a:pt x="22" y="15"/>
                    <a:pt x="55" y="5"/>
                  </a:cubicBezTo>
                  <a:cubicBezTo>
                    <a:pt x="71" y="0"/>
                    <a:pt x="89" y="0"/>
                    <a:pt x="106" y="2"/>
                  </a:cubicBezTo>
                  <a:cubicBezTo>
                    <a:pt x="123" y="3"/>
                    <a:pt x="140" y="6"/>
                    <a:pt x="156" y="14"/>
                  </a:cubicBezTo>
                  <a:cubicBezTo>
                    <a:pt x="183" y="27"/>
                    <a:pt x="178" y="41"/>
                    <a:pt x="178" y="70"/>
                  </a:cubicBezTo>
                  <a:cubicBezTo>
                    <a:pt x="178" y="73"/>
                    <a:pt x="196" y="89"/>
                    <a:pt x="196" y="92"/>
                  </a:cubicBezTo>
                  <a:cubicBezTo>
                    <a:pt x="195" y="98"/>
                    <a:pt x="195" y="105"/>
                    <a:pt x="195" y="111"/>
                  </a:cubicBezTo>
                  <a:cubicBezTo>
                    <a:pt x="193" y="126"/>
                    <a:pt x="189" y="140"/>
                    <a:pt x="183" y="154"/>
                  </a:cubicBezTo>
                  <a:cubicBezTo>
                    <a:pt x="176" y="171"/>
                    <a:pt x="165" y="185"/>
                    <a:pt x="150" y="196"/>
                  </a:cubicBezTo>
                  <a:cubicBezTo>
                    <a:pt x="141" y="202"/>
                    <a:pt x="131" y="206"/>
                    <a:pt x="121" y="208"/>
                  </a:cubicBezTo>
                  <a:cubicBezTo>
                    <a:pt x="105" y="213"/>
                    <a:pt x="89" y="213"/>
                    <a:pt x="72" y="209"/>
                  </a:cubicBezTo>
                  <a:cubicBezTo>
                    <a:pt x="61" y="206"/>
                    <a:pt x="50" y="201"/>
                    <a:pt x="41" y="194"/>
                  </a:cubicBezTo>
                  <a:cubicBezTo>
                    <a:pt x="25" y="183"/>
                    <a:pt x="13" y="167"/>
                    <a:pt x="7" y="149"/>
                  </a:cubicBezTo>
                  <a:cubicBezTo>
                    <a:pt x="2" y="134"/>
                    <a:pt x="0" y="118"/>
                    <a:pt x="0" y="102"/>
                  </a:cubicBezTo>
                  <a:cubicBezTo>
                    <a:pt x="0" y="93"/>
                    <a:pt x="0" y="84"/>
                    <a:pt x="2" y="76"/>
                  </a:cubicBezTo>
                  <a:lnTo>
                    <a:pt x="2" y="75"/>
                  </a:ln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iš1íḓè">
              <a:extLst>
                <a:ext uri="{FF2B5EF4-FFF2-40B4-BE49-F238E27FC236}">
                  <a16:creationId xmlns:a16="http://schemas.microsoft.com/office/drawing/2014/main" id="{5D558924-D779-4841-9E59-C2CF35D34ECF}"/>
                </a:ext>
              </a:extLst>
            </p:cNvPr>
            <p:cNvSpPr/>
            <p:nvPr userDrawn="1"/>
          </p:nvSpPr>
          <p:spPr bwMode="auto">
            <a:xfrm>
              <a:off x="3185815" y="2850647"/>
              <a:ext cx="3677" cy="79646"/>
            </a:xfrm>
            <a:custGeom>
              <a:avLst/>
              <a:gdLst>
                <a:gd name="T0" fmla="*/ 0 w 1"/>
                <a:gd name="T1" fmla="*/ 28 h 28"/>
                <a:gd name="T2" fmla="*/ 1 w 1"/>
                <a:gd name="T3" fmla="*/ 0 h 28"/>
                <a:gd name="T4" fmla="*/ 0 w 1"/>
                <a:gd name="T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8">
                  <a:moveTo>
                    <a:pt x="0" y="28"/>
                  </a:moveTo>
                  <a:cubicBezTo>
                    <a:pt x="0" y="28"/>
                    <a:pt x="0" y="15"/>
                    <a:pt x="1" y="0"/>
                  </a:cubicBezTo>
                  <a:cubicBezTo>
                    <a:pt x="0" y="16"/>
                    <a:pt x="0" y="28"/>
                    <a:pt x="0" y="28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işļíḍê">
              <a:extLst>
                <a:ext uri="{FF2B5EF4-FFF2-40B4-BE49-F238E27FC236}">
                  <a16:creationId xmlns:a16="http://schemas.microsoft.com/office/drawing/2014/main" id="{E199D2AC-6012-42CF-9551-E91B1B858C9D}"/>
                </a:ext>
              </a:extLst>
            </p:cNvPr>
            <p:cNvSpPr/>
            <p:nvPr userDrawn="1"/>
          </p:nvSpPr>
          <p:spPr bwMode="auto">
            <a:xfrm>
              <a:off x="3024072" y="2585978"/>
              <a:ext cx="782981" cy="749897"/>
            </a:xfrm>
            <a:custGeom>
              <a:avLst/>
              <a:gdLst>
                <a:gd name="T0" fmla="*/ 76 w 275"/>
                <a:gd name="T1" fmla="*/ 56 h 264"/>
                <a:gd name="T2" fmla="*/ 267 w 275"/>
                <a:gd name="T3" fmla="*/ 145 h 264"/>
                <a:gd name="T4" fmla="*/ 98 w 275"/>
                <a:gd name="T5" fmla="*/ 239 h 264"/>
                <a:gd name="T6" fmla="*/ 76 w 275"/>
                <a:gd name="T7" fmla="*/ 56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5" h="264">
                  <a:moveTo>
                    <a:pt x="76" y="56"/>
                  </a:moveTo>
                  <a:cubicBezTo>
                    <a:pt x="104" y="13"/>
                    <a:pt x="258" y="0"/>
                    <a:pt x="267" y="145"/>
                  </a:cubicBezTo>
                  <a:cubicBezTo>
                    <a:pt x="275" y="251"/>
                    <a:pt x="155" y="264"/>
                    <a:pt x="98" y="239"/>
                  </a:cubicBezTo>
                  <a:cubicBezTo>
                    <a:pt x="0" y="197"/>
                    <a:pt x="47" y="99"/>
                    <a:pt x="76" y="56"/>
                  </a:cubicBez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" name="ïṡļíḋe">
              <a:extLst>
                <a:ext uri="{FF2B5EF4-FFF2-40B4-BE49-F238E27FC236}">
                  <a16:creationId xmlns:a16="http://schemas.microsoft.com/office/drawing/2014/main" id="{D1D99DB1-9EF8-4E78-A70B-D9B055939F45}"/>
                </a:ext>
              </a:extLst>
            </p:cNvPr>
            <p:cNvSpPr/>
            <p:nvPr userDrawn="1"/>
          </p:nvSpPr>
          <p:spPr bwMode="auto">
            <a:xfrm>
              <a:off x="3106168" y="2498980"/>
              <a:ext cx="664124" cy="553845"/>
            </a:xfrm>
            <a:custGeom>
              <a:avLst/>
              <a:gdLst>
                <a:gd name="T0" fmla="*/ 27 w 233"/>
                <a:gd name="T1" fmla="*/ 195 h 195"/>
                <a:gd name="T2" fmla="*/ 6 w 233"/>
                <a:gd name="T3" fmla="*/ 161 h 195"/>
                <a:gd name="T4" fmla="*/ 32 w 233"/>
                <a:gd name="T5" fmla="*/ 75 h 195"/>
                <a:gd name="T6" fmla="*/ 51 w 233"/>
                <a:gd name="T7" fmla="*/ 68 h 195"/>
                <a:gd name="T8" fmla="*/ 84 w 233"/>
                <a:gd name="T9" fmla="*/ 41 h 195"/>
                <a:gd name="T10" fmla="*/ 215 w 233"/>
                <a:gd name="T11" fmla="*/ 81 h 195"/>
                <a:gd name="T12" fmla="*/ 126 w 233"/>
                <a:gd name="T13" fmla="*/ 136 h 195"/>
                <a:gd name="T14" fmla="*/ 61 w 233"/>
                <a:gd name="T15" fmla="*/ 116 h 195"/>
                <a:gd name="T16" fmla="*/ 54 w 233"/>
                <a:gd name="T17" fmla="*/ 147 h 195"/>
                <a:gd name="T18" fmla="*/ 27 w 233"/>
                <a:gd name="T19" fmla="*/ 185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3" h="195">
                  <a:moveTo>
                    <a:pt x="27" y="195"/>
                  </a:moveTo>
                  <a:cubicBezTo>
                    <a:pt x="27" y="195"/>
                    <a:pt x="13" y="191"/>
                    <a:pt x="6" y="161"/>
                  </a:cubicBezTo>
                  <a:cubicBezTo>
                    <a:pt x="0" y="140"/>
                    <a:pt x="6" y="96"/>
                    <a:pt x="32" y="75"/>
                  </a:cubicBezTo>
                  <a:cubicBezTo>
                    <a:pt x="47" y="62"/>
                    <a:pt x="51" y="68"/>
                    <a:pt x="51" y="68"/>
                  </a:cubicBezTo>
                  <a:cubicBezTo>
                    <a:pt x="51" y="68"/>
                    <a:pt x="55" y="53"/>
                    <a:pt x="84" y="41"/>
                  </a:cubicBezTo>
                  <a:cubicBezTo>
                    <a:pt x="178" y="0"/>
                    <a:pt x="201" y="44"/>
                    <a:pt x="215" y="81"/>
                  </a:cubicBezTo>
                  <a:cubicBezTo>
                    <a:pt x="233" y="131"/>
                    <a:pt x="224" y="168"/>
                    <a:pt x="126" y="136"/>
                  </a:cubicBezTo>
                  <a:cubicBezTo>
                    <a:pt x="86" y="123"/>
                    <a:pt x="61" y="116"/>
                    <a:pt x="61" y="116"/>
                  </a:cubicBezTo>
                  <a:cubicBezTo>
                    <a:pt x="61" y="116"/>
                    <a:pt x="62" y="129"/>
                    <a:pt x="54" y="147"/>
                  </a:cubicBezTo>
                  <a:cubicBezTo>
                    <a:pt x="46" y="165"/>
                    <a:pt x="27" y="185"/>
                    <a:pt x="27" y="185"/>
                  </a:cubicBezTo>
                </a:path>
              </a:pathLst>
            </a:custGeom>
            <a:solidFill>
              <a:srgbClr val="666666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" name="işľiḍê">
              <a:extLst>
                <a:ext uri="{FF2B5EF4-FFF2-40B4-BE49-F238E27FC236}">
                  <a16:creationId xmlns:a16="http://schemas.microsoft.com/office/drawing/2014/main" id="{BD8527B5-9685-43D9-A4BB-24D31A1DC873}"/>
                </a:ext>
              </a:extLst>
            </p:cNvPr>
            <p:cNvSpPr/>
            <p:nvPr userDrawn="1"/>
          </p:nvSpPr>
          <p:spPr bwMode="auto">
            <a:xfrm>
              <a:off x="2901540" y="3410620"/>
              <a:ext cx="1073382" cy="605309"/>
            </a:xfrm>
            <a:custGeom>
              <a:avLst/>
              <a:gdLst>
                <a:gd name="T0" fmla="*/ 365 w 377"/>
                <a:gd name="T1" fmla="*/ 154 h 213"/>
                <a:gd name="T2" fmla="*/ 310 w 377"/>
                <a:gd name="T3" fmla="*/ 30 h 213"/>
                <a:gd name="T4" fmla="*/ 258 w 377"/>
                <a:gd name="T5" fmla="*/ 0 h 213"/>
                <a:gd name="T6" fmla="*/ 192 w 377"/>
                <a:gd name="T7" fmla="*/ 0 h 213"/>
                <a:gd name="T8" fmla="*/ 185 w 377"/>
                <a:gd name="T9" fmla="*/ 0 h 213"/>
                <a:gd name="T10" fmla="*/ 120 w 377"/>
                <a:gd name="T11" fmla="*/ 0 h 213"/>
                <a:gd name="T12" fmla="*/ 68 w 377"/>
                <a:gd name="T13" fmla="*/ 30 h 213"/>
                <a:gd name="T14" fmla="*/ 13 w 377"/>
                <a:gd name="T15" fmla="*/ 154 h 213"/>
                <a:gd name="T16" fmla="*/ 65 w 377"/>
                <a:gd name="T17" fmla="*/ 213 h 213"/>
                <a:gd name="T18" fmla="*/ 185 w 377"/>
                <a:gd name="T19" fmla="*/ 213 h 213"/>
                <a:gd name="T20" fmla="*/ 192 w 377"/>
                <a:gd name="T21" fmla="*/ 213 h 213"/>
                <a:gd name="T22" fmla="*/ 312 w 377"/>
                <a:gd name="T23" fmla="*/ 213 h 213"/>
                <a:gd name="T24" fmla="*/ 365 w 377"/>
                <a:gd name="T25" fmla="*/ 154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7" h="213">
                  <a:moveTo>
                    <a:pt x="365" y="154"/>
                  </a:moveTo>
                  <a:cubicBezTo>
                    <a:pt x="310" y="30"/>
                    <a:pt x="310" y="30"/>
                    <a:pt x="310" y="30"/>
                  </a:cubicBezTo>
                  <a:cubicBezTo>
                    <a:pt x="302" y="12"/>
                    <a:pt x="281" y="0"/>
                    <a:pt x="25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96" y="0"/>
                    <a:pt x="75" y="12"/>
                    <a:pt x="68" y="30"/>
                  </a:cubicBezTo>
                  <a:cubicBezTo>
                    <a:pt x="13" y="154"/>
                    <a:pt x="13" y="154"/>
                    <a:pt x="13" y="154"/>
                  </a:cubicBezTo>
                  <a:cubicBezTo>
                    <a:pt x="0" y="183"/>
                    <a:pt x="27" y="213"/>
                    <a:pt x="65" y="213"/>
                  </a:cubicBezTo>
                  <a:cubicBezTo>
                    <a:pt x="185" y="213"/>
                    <a:pt x="185" y="213"/>
                    <a:pt x="185" y="213"/>
                  </a:cubicBezTo>
                  <a:cubicBezTo>
                    <a:pt x="192" y="213"/>
                    <a:pt x="192" y="213"/>
                    <a:pt x="192" y="213"/>
                  </a:cubicBezTo>
                  <a:cubicBezTo>
                    <a:pt x="312" y="213"/>
                    <a:pt x="312" y="213"/>
                    <a:pt x="312" y="213"/>
                  </a:cubicBezTo>
                  <a:cubicBezTo>
                    <a:pt x="350" y="213"/>
                    <a:pt x="377" y="183"/>
                    <a:pt x="365" y="154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işḻíḍé">
              <a:extLst>
                <a:ext uri="{FF2B5EF4-FFF2-40B4-BE49-F238E27FC236}">
                  <a16:creationId xmlns:a16="http://schemas.microsoft.com/office/drawing/2014/main" id="{87DF0451-204A-474F-A58F-D13039627FD6}"/>
                </a:ext>
              </a:extLst>
            </p:cNvPr>
            <p:cNvSpPr/>
            <p:nvPr userDrawn="1"/>
          </p:nvSpPr>
          <p:spPr bwMode="auto">
            <a:xfrm>
              <a:off x="3055931" y="3473111"/>
              <a:ext cx="773178" cy="911639"/>
            </a:xfrm>
            <a:custGeom>
              <a:avLst/>
              <a:gdLst>
                <a:gd name="T0" fmla="*/ 216 w 272"/>
                <a:gd name="T1" fmla="*/ 321 h 321"/>
                <a:gd name="T2" fmla="*/ 57 w 272"/>
                <a:gd name="T3" fmla="*/ 321 h 321"/>
                <a:gd name="T4" fmla="*/ 0 w 272"/>
                <a:gd name="T5" fmla="*/ 265 h 321"/>
                <a:gd name="T6" fmla="*/ 0 w 272"/>
                <a:gd name="T7" fmla="*/ 56 h 321"/>
                <a:gd name="T8" fmla="*/ 57 w 272"/>
                <a:gd name="T9" fmla="*/ 0 h 321"/>
                <a:gd name="T10" fmla="*/ 216 w 272"/>
                <a:gd name="T11" fmla="*/ 0 h 321"/>
                <a:gd name="T12" fmla="*/ 272 w 272"/>
                <a:gd name="T13" fmla="*/ 56 h 321"/>
                <a:gd name="T14" fmla="*/ 272 w 272"/>
                <a:gd name="T15" fmla="*/ 265 h 321"/>
                <a:gd name="T16" fmla="*/ 216 w 272"/>
                <a:gd name="T17" fmla="*/ 32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2" h="321">
                  <a:moveTo>
                    <a:pt x="216" y="321"/>
                  </a:moveTo>
                  <a:cubicBezTo>
                    <a:pt x="57" y="321"/>
                    <a:pt x="57" y="321"/>
                    <a:pt x="57" y="321"/>
                  </a:cubicBezTo>
                  <a:cubicBezTo>
                    <a:pt x="25" y="321"/>
                    <a:pt x="0" y="296"/>
                    <a:pt x="0" y="2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25"/>
                    <a:pt x="25" y="0"/>
                    <a:pt x="57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47" y="0"/>
                    <a:pt x="272" y="25"/>
                    <a:pt x="272" y="56"/>
                  </a:cubicBezTo>
                  <a:cubicBezTo>
                    <a:pt x="272" y="265"/>
                    <a:pt x="272" y="265"/>
                    <a:pt x="272" y="265"/>
                  </a:cubicBezTo>
                  <a:cubicBezTo>
                    <a:pt x="272" y="296"/>
                    <a:pt x="247" y="321"/>
                    <a:pt x="216" y="321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ïṣľïḓè">
              <a:extLst>
                <a:ext uri="{FF2B5EF4-FFF2-40B4-BE49-F238E27FC236}">
                  <a16:creationId xmlns:a16="http://schemas.microsoft.com/office/drawing/2014/main" id="{72328A9B-5B48-4A75-AE33-79F12AF9E653}"/>
                </a:ext>
              </a:extLst>
            </p:cNvPr>
            <p:cNvSpPr/>
            <p:nvPr userDrawn="1"/>
          </p:nvSpPr>
          <p:spPr bwMode="auto">
            <a:xfrm>
              <a:off x="3092691" y="3473111"/>
              <a:ext cx="699659" cy="857725"/>
            </a:xfrm>
            <a:custGeom>
              <a:avLst/>
              <a:gdLst>
                <a:gd name="T0" fmla="*/ 190 w 246"/>
                <a:gd name="T1" fmla="*/ 302 h 302"/>
                <a:gd name="T2" fmla="*/ 57 w 246"/>
                <a:gd name="T3" fmla="*/ 302 h 302"/>
                <a:gd name="T4" fmla="*/ 0 w 246"/>
                <a:gd name="T5" fmla="*/ 245 h 302"/>
                <a:gd name="T6" fmla="*/ 0 w 246"/>
                <a:gd name="T7" fmla="*/ 56 h 302"/>
                <a:gd name="T8" fmla="*/ 57 w 246"/>
                <a:gd name="T9" fmla="*/ 0 h 302"/>
                <a:gd name="T10" fmla="*/ 190 w 246"/>
                <a:gd name="T11" fmla="*/ 0 h 302"/>
                <a:gd name="T12" fmla="*/ 246 w 246"/>
                <a:gd name="T13" fmla="*/ 56 h 302"/>
                <a:gd name="T14" fmla="*/ 246 w 246"/>
                <a:gd name="T15" fmla="*/ 245 h 302"/>
                <a:gd name="T16" fmla="*/ 190 w 246"/>
                <a:gd name="T17" fmla="*/ 302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6" h="302">
                  <a:moveTo>
                    <a:pt x="190" y="302"/>
                  </a:moveTo>
                  <a:cubicBezTo>
                    <a:pt x="57" y="302"/>
                    <a:pt x="57" y="302"/>
                    <a:pt x="57" y="302"/>
                  </a:cubicBezTo>
                  <a:cubicBezTo>
                    <a:pt x="26" y="302"/>
                    <a:pt x="0" y="276"/>
                    <a:pt x="0" y="24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25"/>
                    <a:pt x="26" y="0"/>
                    <a:pt x="57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221" y="0"/>
                    <a:pt x="246" y="25"/>
                    <a:pt x="246" y="56"/>
                  </a:cubicBezTo>
                  <a:cubicBezTo>
                    <a:pt x="246" y="245"/>
                    <a:pt x="246" y="245"/>
                    <a:pt x="246" y="245"/>
                  </a:cubicBezTo>
                  <a:cubicBezTo>
                    <a:pt x="246" y="276"/>
                    <a:pt x="221" y="302"/>
                    <a:pt x="190" y="302"/>
                  </a:cubicBezTo>
                  <a:close/>
                </a:path>
              </a:pathLst>
            </a:cu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îšlídè">
              <a:extLst>
                <a:ext uri="{FF2B5EF4-FFF2-40B4-BE49-F238E27FC236}">
                  <a16:creationId xmlns:a16="http://schemas.microsoft.com/office/drawing/2014/main" id="{06E681C1-1770-438C-92E0-4908FDED543C}"/>
                </a:ext>
              </a:extLst>
            </p:cNvPr>
            <p:cNvSpPr/>
            <p:nvPr userDrawn="1"/>
          </p:nvSpPr>
          <p:spPr bwMode="auto">
            <a:xfrm>
              <a:off x="3080437" y="2913139"/>
              <a:ext cx="700884" cy="454595"/>
            </a:xfrm>
            <a:custGeom>
              <a:avLst/>
              <a:gdLst>
                <a:gd name="T0" fmla="*/ 190 w 246"/>
                <a:gd name="T1" fmla="*/ 160 h 160"/>
                <a:gd name="T2" fmla="*/ 57 w 246"/>
                <a:gd name="T3" fmla="*/ 160 h 160"/>
                <a:gd name="T4" fmla="*/ 0 w 246"/>
                <a:gd name="T5" fmla="*/ 104 h 160"/>
                <a:gd name="T6" fmla="*/ 0 w 246"/>
                <a:gd name="T7" fmla="*/ 57 h 160"/>
                <a:gd name="T8" fmla="*/ 57 w 246"/>
                <a:gd name="T9" fmla="*/ 0 h 160"/>
                <a:gd name="T10" fmla="*/ 190 w 246"/>
                <a:gd name="T11" fmla="*/ 0 h 160"/>
                <a:gd name="T12" fmla="*/ 246 w 246"/>
                <a:gd name="T13" fmla="*/ 57 h 160"/>
                <a:gd name="T14" fmla="*/ 246 w 246"/>
                <a:gd name="T15" fmla="*/ 104 h 160"/>
                <a:gd name="T16" fmla="*/ 190 w 246"/>
                <a:gd name="T17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6" h="160">
                  <a:moveTo>
                    <a:pt x="190" y="160"/>
                  </a:moveTo>
                  <a:cubicBezTo>
                    <a:pt x="57" y="160"/>
                    <a:pt x="57" y="160"/>
                    <a:pt x="57" y="160"/>
                  </a:cubicBezTo>
                  <a:cubicBezTo>
                    <a:pt x="26" y="160"/>
                    <a:pt x="0" y="135"/>
                    <a:pt x="0" y="104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26"/>
                    <a:pt x="26" y="0"/>
                    <a:pt x="57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221" y="0"/>
                    <a:pt x="246" y="26"/>
                    <a:pt x="246" y="57"/>
                  </a:cubicBezTo>
                  <a:cubicBezTo>
                    <a:pt x="246" y="104"/>
                    <a:pt x="246" y="104"/>
                    <a:pt x="246" y="104"/>
                  </a:cubicBezTo>
                  <a:cubicBezTo>
                    <a:pt x="246" y="135"/>
                    <a:pt x="221" y="160"/>
                    <a:pt x="190" y="160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ïṩḷídé">
              <a:extLst>
                <a:ext uri="{FF2B5EF4-FFF2-40B4-BE49-F238E27FC236}">
                  <a16:creationId xmlns:a16="http://schemas.microsoft.com/office/drawing/2014/main" id="{660F0BB5-1EC9-4845-B263-4ED425A0F5C0}"/>
                </a:ext>
              </a:extLst>
            </p:cNvPr>
            <p:cNvSpPr/>
            <p:nvPr userDrawn="1"/>
          </p:nvSpPr>
          <p:spPr bwMode="auto">
            <a:xfrm>
              <a:off x="3126999" y="2930293"/>
              <a:ext cx="611436" cy="398230"/>
            </a:xfrm>
            <a:custGeom>
              <a:avLst/>
              <a:gdLst>
                <a:gd name="T0" fmla="*/ 169 w 215"/>
                <a:gd name="T1" fmla="*/ 140 h 140"/>
                <a:gd name="T2" fmla="*/ 45 w 215"/>
                <a:gd name="T3" fmla="*/ 140 h 140"/>
                <a:gd name="T4" fmla="*/ 0 w 215"/>
                <a:gd name="T5" fmla="*/ 95 h 140"/>
                <a:gd name="T6" fmla="*/ 0 w 215"/>
                <a:gd name="T7" fmla="*/ 46 h 140"/>
                <a:gd name="T8" fmla="*/ 45 w 215"/>
                <a:gd name="T9" fmla="*/ 0 h 140"/>
                <a:gd name="T10" fmla="*/ 169 w 215"/>
                <a:gd name="T11" fmla="*/ 0 h 140"/>
                <a:gd name="T12" fmla="*/ 215 w 215"/>
                <a:gd name="T13" fmla="*/ 46 h 140"/>
                <a:gd name="T14" fmla="*/ 215 w 215"/>
                <a:gd name="T15" fmla="*/ 95 h 140"/>
                <a:gd name="T16" fmla="*/ 169 w 215"/>
                <a:gd name="T17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5" h="140">
                  <a:moveTo>
                    <a:pt x="169" y="140"/>
                  </a:moveTo>
                  <a:cubicBezTo>
                    <a:pt x="45" y="140"/>
                    <a:pt x="45" y="140"/>
                    <a:pt x="45" y="140"/>
                  </a:cubicBezTo>
                  <a:cubicBezTo>
                    <a:pt x="20" y="140"/>
                    <a:pt x="0" y="120"/>
                    <a:pt x="0" y="95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20"/>
                    <a:pt x="20" y="0"/>
                    <a:pt x="45" y="0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94" y="0"/>
                    <a:pt x="215" y="20"/>
                    <a:pt x="215" y="46"/>
                  </a:cubicBezTo>
                  <a:cubicBezTo>
                    <a:pt x="215" y="95"/>
                    <a:pt x="215" y="95"/>
                    <a:pt x="215" y="95"/>
                  </a:cubicBezTo>
                  <a:cubicBezTo>
                    <a:pt x="215" y="120"/>
                    <a:pt x="194" y="140"/>
                    <a:pt x="169" y="140"/>
                  </a:cubicBezTo>
                  <a:close/>
                </a:path>
              </a:pathLst>
            </a:cu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íŝliḓè">
              <a:extLst>
                <a:ext uri="{FF2B5EF4-FFF2-40B4-BE49-F238E27FC236}">
                  <a16:creationId xmlns:a16="http://schemas.microsoft.com/office/drawing/2014/main" id="{693C7819-0F20-4631-A6EB-872578CB9B16}"/>
                </a:ext>
              </a:extLst>
            </p:cNvPr>
            <p:cNvSpPr/>
            <p:nvPr userDrawn="1"/>
          </p:nvSpPr>
          <p:spPr bwMode="auto">
            <a:xfrm>
              <a:off x="2976284" y="4399454"/>
              <a:ext cx="904287" cy="211981"/>
            </a:xfrm>
            <a:prstGeom prst="ellipse">
              <a:avLst/>
            </a:pr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" name="ïSľíḋê">
              <a:extLst>
                <a:ext uri="{FF2B5EF4-FFF2-40B4-BE49-F238E27FC236}">
                  <a16:creationId xmlns:a16="http://schemas.microsoft.com/office/drawing/2014/main" id="{8F9C19EF-98C8-4981-AAF6-9D1923B1EE08}"/>
                </a:ext>
              </a:extLst>
            </p:cNvPr>
            <p:cNvSpPr/>
            <p:nvPr userDrawn="1"/>
          </p:nvSpPr>
          <p:spPr bwMode="auto">
            <a:xfrm>
              <a:off x="3080437" y="4399454"/>
              <a:ext cx="692307" cy="53914"/>
            </a:xfrm>
            <a:custGeom>
              <a:avLst/>
              <a:gdLst>
                <a:gd name="T0" fmla="*/ 0 w 243"/>
                <a:gd name="T1" fmla="*/ 14 h 19"/>
                <a:gd name="T2" fmla="*/ 122 w 243"/>
                <a:gd name="T3" fmla="*/ 19 h 19"/>
                <a:gd name="T4" fmla="*/ 243 w 243"/>
                <a:gd name="T5" fmla="*/ 14 h 19"/>
                <a:gd name="T6" fmla="*/ 122 w 243"/>
                <a:gd name="T7" fmla="*/ 0 h 19"/>
                <a:gd name="T8" fmla="*/ 0 w 243"/>
                <a:gd name="T9" fmla="*/ 1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3" h="19">
                  <a:moveTo>
                    <a:pt x="0" y="14"/>
                  </a:moveTo>
                  <a:cubicBezTo>
                    <a:pt x="30" y="17"/>
                    <a:pt x="73" y="19"/>
                    <a:pt x="122" y="19"/>
                  </a:cubicBezTo>
                  <a:cubicBezTo>
                    <a:pt x="171" y="19"/>
                    <a:pt x="214" y="17"/>
                    <a:pt x="243" y="14"/>
                  </a:cubicBezTo>
                  <a:cubicBezTo>
                    <a:pt x="214" y="6"/>
                    <a:pt x="171" y="0"/>
                    <a:pt x="122" y="0"/>
                  </a:cubicBezTo>
                  <a:cubicBezTo>
                    <a:pt x="73" y="0"/>
                    <a:pt x="30" y="6"/>
                    <a:pt x="0" y="14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íšļiḑê">
              <a:extLst>
                <a:ext uri="{FF2B5EF4-FFF2-40B4-BE49-F238E27FC236}">
                  <a16:creationId xmlns:a16="http://schemas.microsoft.com/office/drawing/2014/main" id="{AA22B452-E548-44EA-9455-BF4F3923065D}"/>
                </a:ext>
              </a:extLst>
            </p:cNvPr>
            <p:cNvSpPr/>
            <p:nvPr userDrawn="1"/>
          </p:nvSpPr>
          <p:spPr bwMode="auto">
            <a:xfrm>
              <a:off x="3383091" y="4611435"/>
              <a:ext cx="84547" cy="0"/>
            </a:xfrm>
            <a:custGeom>
              <a:avLst/>
              <a:gdLst>
                <a:gd name="T0" fmla="*/ 16 w 30"/>
                <a:gd name="T1" fmla="*/ 15 w 30"/>
                <a:gd name="T2" fmla="*/ 17 w 30"/>
                <a:gd name="T3" fmla="*/ 17 w 30"/>
                <a:gd name="T4" fmla="*/ 17 w 30"/>
                <a:gd name="T5" fmla="*/ 15 w 30"/>
                <a:gd name="T6" fmla="*/ 15 w 30"/>
                <a:gd name="T7" fmla="*/ 14 w 30"/>
                <a:gd name="T8" fmla="*/ 18 w 30"/>
                <a:gd name="T9" fmla="*/ 18 w 30"/>
                <a:gd name="T10" fmla="*/ 19 w 30"/>
                <a:gd name="T11" fmla="*/ 13 w 30"/>
                <a:gd name="T12" fmla="*/ 13 w 30"/>
                <a:gd name="T13" fmla="*/ 13 w 30"/>
                <a:gd name="T14" fmla="*/ 19 w 30"/>
                <a:gd name="T15" fmla="*/ 19 w 30"/>
                <a:gd name="T16" fmla="*/ 20 w 30"/>
                <a:gd name="T17" fmla="*/ 12 w 30"/>
                <a:gd name="T18" fmla="*/ 12 w 30"/>
                <a:gd name="T19" fmla="*/ 11 w 30"/>
                <a:gd name="T20" fmla="*/ 21 w 30"/>
                <a:gd name="T21" fmla="*/ 21 w 30"/>
                <a:gd name="T22" fmla="*/ 21 w 30"/>
                <a:gd name="T23" fmla="*/ 11 w 30"/>
                <a:gd name="T24" fmla="*/ 10 w 30"/>
                <a:gd name="T25" fmla="*/ 10 w 30"/>
                <a:gd name="T26" fmla="*/ 22 w 30"/>
                <a:gd name="T27" fmla="*/ 22 w 30"/>
                <a:gd name="T28" fmla="*/ 22 w 30"/>
                <a:gd name="T29" fmla="*/ 9 w 30"/>
                <a:gd name="T30" fmla="*/ 9 w 30"/>
                <a:gd name="T31" fmla="*/ 9 w 30"/>
                <a:gd name="T32" fmla="*/ 23 w 30"/>
                <a:gd name="T33" fmla="*/ 23 w 30"/>
                <a:gd name="T34" fmla="*/ 24 w 30"/>
                <a:gd name="T35" fmla="*/ 8 w 30"/>
                <a:gd name="T36" fmla="*/ 8 w 30"/>
                <a:gd name="T37" fmla="*/ 7 w 30"/>
                <a:gd name="T38" fmla="*/ 24 w 30"/>
                <a:gd name="T39" fmla="*/ 25 w 30"/>
                <a:gd name="T40" fmla="*/ 25 w 30"/>
                <a:gd name="T41" fmla="*/ 7 w 30"/>
                <a:gd name="T42" fmla="*/ 25 w 30"/>
                <a:gd name="T43" fmla="*/ 26 w 30"/>
                <a:gd name="T44" fmla="*/ 6 w 30"/>
                <a:gd name="T45" fmla="*/ 6 w 30"/>
                <a:gd name="T46" fmla="*/ 5 w 30"/>
                <a:gd name="T47" fmla="*/ 26 w 30"/>
                <a:gd name="T48" fmla="*/ 27 w 30"/>
                <a:gd name="T49" fmla="*/ 4 w 30"/>
                <a:gd name="T50" fmla="*/ 28 w 30"/>
                <a:gd name="T51" fmla="*/ 28 w 30"/>
                <a:gd name="T52" fmla="*/ 28 w 30"/>
                <a:gd name="T53" fmla="*/ 4 w 30"/>
                <a:gd name="T54" fmla="*/ 3 w 30"/>
                <a:gd name="T55" fmla="*/ 2 w 30"/>
                <a:gd name="T56" fmla="*/ 2 w 30"/>
                <a:gd name="T57" fmla="*/ 2 w 30"/>
                <a:gd name="T58" fmla="*/ 2 w 30"/>
                <a:gd name="T59" fmla="*/ 1 w 30"/>
                <a:gd name="T60" fmla="*/ 0 w 3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  <a:cxn ang="0">
                  <a:pos x="T12" y="0"/>
                </a:cxn>
                <a:cxn ang="0">
                  <a:pos x="T13" y="0"/>
                </a:cxn>
                <a:cxn ang="0">
                  <a:pos x="T14" y="0"/>
                </a:cxn>
                <a:cxn ang="0">
                  <a:pos x="T15" y="0"/>
                </a:cxn>
                <a:cxn ang="0">
                  <a:pos x="T16" y="0"/>
                </a:cxn>
                <a:cxn ang="0">
                  <a:pos x="T17" y="0"/>
                </a:cxn>
                <a:cxn ang="0">
                  <a:pos x="T18" y="0"/>
                </a:cxn>
                <a:cxn ang="0">
                  <a:pos x="T19" y="0"/>
                </a:cxn>
                <a:cxn ang="0">
                  <a:pos x="T20" y="0"/>
                </a:cxn>
                <a:cxn ang="0">
                  <a:pos x="T21" y="0"/>
                </a:cxn>
                <a:cxn ang="0">
                  <a:pos x="T22" y="0"/>
                </a:cxn>
                <a:cxn ang="0">
                  <a:pos x="T23" y="0"/>
                </a:cxn>
                <a:cxn ang="0">
                  <a:pos x="T24" y="0"/>
                </a:cxn>
                <a:cxn ang="0">
                  <a:pos x="T25" y="0"/>
                </a:cxn>
                <a:cxn ang="0">
                  <a:pos x="T26" y="0"/>
                </a:cxn>
                <a:cxn ang="0">
                  <a:pos x="T27" y="0"/>
                </a:cxn>
                <a:cxn ang="0">
                  <a:pos x="T28" y="0"/>
                </a:cxn>
                <a:cxn ang="0">
                  <a:pos x="T29" y="0"/>
                </a:cxn>
                <a:cxn ang="0">
                  <a:pos x="T30" y="0"/>
                </a:cxn>
                <a:cxn ang="0">
                  <a:pos x="T31" y="0"/>
                </a:cxn>
                <a:cxn ang="0">
                  <a:pos x="T32" y="0"/>
                </a:cxn>
                <a:cxn ang="0">
                  <a:pos x="T33" y="0"/>
                </a:cxn>
                <a:cxn ang="0">
                  <a:pos x="T34" y="0"/>
                </a:cxn>
                <a:cxn ang="0">
                  <a:pos x="T35" y="0"/>
                </a:cxn>
                <a:cxn ang="0">
                  <a:pos x="T36" y="0"/>
                </a:cxn>
                <a:cxn ang="0">
                  <a:pos x="T37" y="0"/>
                </a:cxn>
                <a:cxn ang="0">
                  <a:pos x="T38" y="0"/>
                </a:cxn>
                <a:cxn ang="0">
                  <a:pos x="T39" y="0"/>
                </a:cxn>
                <a:cxn ang="0">
                  <a:pos x="T40" y="0"/>
                </a:cxn>
                <a:cxn ang="0">
                  <a:pos x="T41" y="0"/>
                </a:cxn>
                <a:cxn ang="0">
                  <a:pos x="T42" y="0"/>
                </a:cxn>
                <a:cxn ang="0">
                  <a:pos x="T43" y="0"/>
                </a:cxn>
                <a:cxn ang="0">
                  <a:pos x="T44" y="0"/>
                </a:cxn>
                <a:cxn ang="0">
                  <a:pos x="T45" y="0"/>
                </a:cxn>
                <a:cxn ang="0">
                  <a:pos x="T46" y="0"/>
                </a:cxn>
                <a:cxn ang="0">
                  <a:pos x="T47" y="0"/>
                </a:cxn>
                <a:cxn ang="0">
                  <a:pos x="T48" y="0"/>
                </a:cxn>
                <a:cxn ang="0">
                  <a:pos x="T49" y="0"/>
                </a:cxn>
                <a:cxn ang="0">
                  <a:pos x="T50" y="0"/>
                </a:cxn>
                <a:cxn ang="0">
                  <a:pos x="T51" y="0"/>
                </a:cxn>
                <a:cxn ang="0">
                  <a:pos x="T52" y="0"/>
                </a:cxn>
                <a:cxn ang="0">
                  <a:pos x="T53" y="0"/>
                </a:cxn>
                <a:cxn ang="0">
                  <a:pos x="T54" y="0"/>
                </a:cxn>
                <a:cxn ang="0">
                  <a:pos x="T55" y="0"/>
                </a:cxn>
                <a:cxn ang="0">
                  <a:pos x="T56" y="0"/>
                </a:cxn>
                <a:cxn ang="0">
                  <a:pos x="T57" y="0"/>
                </a:cxn>
                <a:cxn ang="0">
                  <a:pos x="T58" y="0"/>
                </a:cxn>
                <a:cxn ang="0">
                  <a:pos x="T59" y="0"/>
                </a:cxn>
                <a:cxn ang="0">
                  <a:pos x="T60" y="0"/>
                </a:cxn>
              </a:cxnLst>
              <a:rect l="0" t="0" r="r" b="b"/>
              <a:pathLst>
                <a:path w="30"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6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6" y="0"/>
                    <a:pt x="16" y="0"/>
                  </a:cubicBezTo>
                  <a:cubicBezTo>
                    <a:pt x="16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5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7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8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19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9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8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8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7" y="0"/>
                  </a:moveTo>
                  <a:cubicBezTo>
                    <a:pt x="7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25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25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5" y="0"/>
                  </a:moveTo>
                  <a:cubicBezTo>
                    <a:pt x="5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moveTo>
                    <a:pt x="27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7" y="0"/>
                    <a:pt x="27" y="0"/>
                  </a:cubicBezTo>
                  <a:cubicBezTo>
                    <a:pt x="27" y="0"/>
                    <a:pt x="27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29" y="0"/>
                  </a:moveTo>
                  <a:cubicBezTo>
                    <a:pt x="29" y="0"/>
                    <a:pt x="29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30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30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77BF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îşļiḓè">
              <a:extLst>
                <a:ext uri="{FF2B5EF4-FFF2-40B4-BE49-F238E27FC236}">
                  <a16:creationId xmlns:a16="http://schemas.microsoft.com/office/drawing/2014/main" id="{64D6E0F5-4B9A-430B-AEBC-FD608ACB500C}"/>
                </a:ext>
              </a:extLst>
            </p:cNvPr>
            <p:cNvSpPr/>
            <p:nvPr userDrawn="1"/>
          </p:nvSpPr>
          <p:spPr bwMode="auto">
            <a:xfrm>
              <a:off x="2983637" y="4526887"/>
              <a:ext cx="888358" cy="84547"/>
            </a:xfrm>
            <a:custGeom>
              <a:avLst/>
              <a:gdLst>
                <a:gd name="T0" fmla="*/ 140 w 312"/>
                <a:gd name="T1" fmla="*/ 30 h 30"/>
                <a:gd name="T2" fmla="*/ 142 w 312"/>
                <a:gd name="T3" fmla="*/ 30 h 30"/>
                <a:gd name="T4" fmla="*/ 142 w 312"/>
                <a:gd name="T5" fmla="*/ 30 h 30"/>
                <a:gd name="T6" fmla="*/ 142 w 312"/>
                <a:gd name="T7" fmla="*/ 30 h 30"/>
                <a:gd name="T8" fmla="*/ 144 w 312"/>
                <a:gd name="T9" fmla="*/ 30 h 30"/>
                <a:gd name="T10" fmla="*/ 144 w 312"/>
                <a:gd name="T11" fmla="*/ 30 h 30"/>
                <a:gd name="T12" fmla="*/ 144 w 312"/>
                <a:gd name="T13" fmla="*/ 30 h 30"/>
                <a:gd name="T14" fmla="*/ 145 w 312"/>
                <a:gd name="T15" fmla="*/ 30 h 30"/>
                <a:gd name="T16" fmla="*/ 146 w 312"/>
                <a:gd name="T17" fmla="*/ 30 h 30"/>
                <a:gd name="T18" fmla="*/ 146 w 312"/>
                <a:gd name="T19" fmla="*/ 30 h 30"/>
                <a:gd name="T20" fmla="*/ 147 w 312"/>
                <a:gd name="T21" fmla="*/ 30 h 30"/>
                <a:gd name="T22" fmla="*/ 147 w 312"/>
                <a:gd name="T23" fmla="*/ 30 h 30"/>
                <a:gd name="T24" fmla="*/ 148 w 312"/>
                <a:gd name="T25" fmla="*/ 30 h 30"/>
                <a:gd name="T26" fmla="*/ 148 w 312"/>
                <a:gd name="T27" fmla="*/ 30 h 30"/>
                <a:gd name="T28" fmla="*/ 149 w 312"/>
                <a:gd name="T29" fmla="*/ 30 h 30"/>
                <a:gd name="T30" fmla="*/ 149 w 312"/>
                <a:gd name="T31" fmla="*/ 30 h 30"/>
                <a:gd name="T32" fmla="*/ 150 w 312"/>
                <a:gd name="T33" fmla="*/ 30 h 30"/>
                <a:gd name="T34" fmla="*/ 150 w 312"/>
                <a:gd name="T35" fmla="*/ 30 h 30"/>
                <a:gd name="T36" fmla="*/ 151 w 312"/>
                <a:gd name="T37" fmla="*/ 30 h 30"/>
                <a:gd name="T38" fmla="*/ 151 w 312"/>
                <a:gd name="T39" fmla="*/ 30 h 30"/>
                <a:gd name="T40" fmla="*/ 152 w 312"/>
                <a:gd name="T41" fmla="*/ 30 h 30"/>
                <a:gd name="T42" fmla="*/ 152 w 312"/>
                <a:gd name="T43" fmla="*/ 30 h 30"/>
                <a:gd name="T44" fmla="*/ 153 w 312"/>
                <a:gd name="T45" fmla="*/ 30 h 30"/>
                <a:gd name="T46" fmla="*/ 153 w 312"/>
                <a:gd name="T47" fmla="*/ 30 h 30"/>
                <a:gd name="T48" fmla="*/ 154 w 312"/>
                <a:gd name="T49" fmla="*/ 30 h 30"/>
                <a:gd name="T50" fmla="*/ 155 w 312"/>
                <a:gd name="T51" fmla="*/ 30 h 30"/>
                <a:gd name="T52" fmla="*/ 155 w 312"/>
                <a:gd name="T53" fmla="*/ 30 h 30"/>
                <a:gd name="T54" fmla="*/ 156 w 312"/>
                <a:gd name="T55" fmla="*/ 30 h 30"/>
                <a:gd name="T56" fmla="*/ 156 w 312"/>
                <a:gd name="T57" fmla="*/ 30 h 30"/>
                <a:gd name="T58" fmla="*/ 157 w 312"/>
                <a:gd name="T59" fmla="*/ 30 h 30"/>
                <a:gd name="T60" fmla="*/ 157 w 312"/>
                <a:gd name="T61" fmla="*/ 30 h 30"/>
                <a:gd name="T62" fmla="*/ 158 w 312"/>
                <a:gd name="T63" fmla="*/ 30 h 30"/>
                <a:gd name="T64" fmla="*/ 158 w 312"/>
                <a:gd name="T65" fmla="*/ 30 h 30"/>
                <a:gd name="T66" fmla="*/ 159 w 312"/>
                <a:gd name="T67" fmla="*/ 30 h 30"/>
                <a:gd name="T68" fmla="*/ 159 w 312"/>
                <a:gd name="T69" fmla="*/ 30 h 30"/>
                <a:gd name="T70" fmla="*/ 160 w 312"/>
                <a:gd name="T71" fmla="*/ 30 h 30"/>
                <a:gd name="T72" fmla="*/ 161 w 312"/>
                <a:gd name="T73" fmla="*/ 30 h 30"/>
                <a:gd name="T74" fmla="*/ 161 w 312"/>
                <a:gd name="T75" fmla="*/ 30 h 30"/>
                <a:gd name="T76" fmla="*/ 162 w 312"/>
                <a:gd name="T77" fmla="*/ 30 h 30"/>
                <a:gd name="T78" fmla="*/ 162 w 312"/>
                <a:gd name="T79" fmla="*/ 30 h 30"/>
                <a:gd name="T80" fmla="*/ 163 w 312"/>
                <a:gd name="T81" fmla="*/ 30 h 30"/>
                <a:gd name="T82" fmla="*/ 163 w 312"/>
                <a:gd name="T83" fmla="*/ 30 h 30"/>
                <a:gd name="T84" fmla="*/ 164 w 312"/>
                <a:gd name="T85" fmla="*/ 30 h 30"/>
                <a:gd name="T86" fmla="*/ 164 w 312"/>
                <a:gd name="T87" fmla="*/ 30 h 30"/>
                <a:gd name="T88" fmla="*/ 165 w 312"/>
                <a:gd name="T89" fmla="*/ 30 h 30"/>
                <a:gd name="T90" fmla="*/ 165 w 312"/>
                <a:gd name="T91" fmla="*/ 30 h 30"/>
                <a:gd name="T92" fmla="*/ 166 w 312"/>
                <a:gd name="T93" fmla="*/ 30 h 30"/>
                <a:gd name="T94" fmla="*/ 166 w 312"/>
                <a:gd name="T95" fmla="*/ 30 h 30"/>
                <a:gd name="T96" fmla="*/ 167 w 312"/>
                <a:gd name="T97" fmla="*/ 30 h 30"/>
                <a:gd name="T98" fmla="*/ 168 w 312"/>
                <a:gd name="T99" fmla="*/ 30 h 30"/>
                <a:gd name="T100" fmla="*/ 170 w 312"/>
                <a:gd name="T101" fmla="*/ 30 h 30"/>
                <a:gd name="T102" fmla="*/ 312 w 312"/>
                <a:gd name="T10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12" h="30">
                  <a:moveTo>
                    <a:pt x="31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3" y="16"/>
                    <a:pt x="70" y="28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1" y="30"/>
                    <a:pt x="141" y="30"/>
                    <a:pt x="141" y="30"/>
                  </a:cubicBezTo>
                  <a:cubicBezTo>
                    <a:pt x="141" y="30"/>
                    <a:pt x="141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7" y="30"/>
                    <a:pt x="167" y="30"/>
                  </a:cubicBezTo>
                  <a:cubicBezTo>
                    <a:pt x="167" y="30"/>
                    <a:pt x="167" y="30"/>
                    <a:pt x="167" y="30"/>
                  </a:cubicBezTo>
                  <a:cubicBezTo>
                    <a:pt x="167" y="30"/>
                    <a:pt x="167" y="30"/>
                    <a:pt x="167" y="30"/>
                  </a:cubicBezTo>
                  <a:cubicBezTo>
                    <a:pt x="167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9" y="30"/>
                    <a:pt x="169" y="30"/>
                  </a:cubicBezTo>
                  <a:cubicBezTo>
                    <a:pt x="169" y="30"/>
                    <a:pt x="169" y="30"/>
                    <a:pt x="169" y="30"/>
                  </a:cubicBezTo>
                  <a:cubicBezTo>
                    <a:pt x="169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241" y="29"/>
                    <a:pt x="298" y="16"/>
                    <a:pt x="312" y="0"/>
                  </a:cubicBezTo>
                </a:path>
              </a:pathLst>
            </a:custGeom>
            <a:solidFill>
              <a:srgbClr val="134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ïṥḻïḋê">
              <a:extLst>
                <a:ext uri="{FF2B5EF4-FFF2-40B4-BE49-F238E27FC236}">
                  <a16:creationId xmlns:a16="http://schemas.microsoft.com/office/drawing/2014/main" id="{7397400A-7416-4E12-9660-155DE38804C8}"/>
                </a:ext>
              </a:extLst>
            </p:cNvPr>
            <p:cNvSpPr/>
            <p:nvPr userDrawn="1"/>
          </p:nvSpPr>
          <p:spPr bwMode="auto">
            <a:xfrm>
              <a:off x="3359810" y="3986521"/>
              <a:ext cx="133561" cy="1154253"/>
            </a:xfrm>
            <a:custGeom>
              <a:avLst/>
              <a:gdLst>
                <a:gd name="T0" fmla="*/ 47 w 47"/>
                <a:gd name="T1" fmla="*/ 406 h 406"/>
                <a:gd name="T2" fmla="*/ 0 w 47"/>
                <a:gd name="T3" fmla="*/ 406 h 406"/>
                <a:gd name="T4" fmla="*/ 0 w 47"/>
                <a:gd name="T5" fmla="*/ 24 h 406"/>
                <a:gd name="T6" fmla="*/ 24 w 47"/>
                <a:gd name="T7" fmla="*/ 0 h 406"/>
                <a:gd name="T8" fmla="*/ 47 w 47"/>
                <a:gd name="T9" fmla="*/ 24 h 406"/>
                <a:gd name="T10" fmla="*/ 47 w 47"/>
                <a:gd name="T11" fmla="*/ 406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" h="406">
                  <a:moveTo>
                    <a:pt x="47" y="406"/>
                  </a:moveTo>
                  <a:cubicBezTo>
                    <a:pt x="0" y="406"/>
                    <a:pt x="0" y="406"/>
                    <a:pt x="0" y="40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7" y="11"/>
                    <a:pt x="47" y="24"/>
                  </a:cubicBezTo>
                  <a:lnTo>
                    <a:pt x="47" y="406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işḻíḓé">
              <a:extLst>
                <a:ext uri="{FF2B5EF4-FFF2-40B4-BE49-F238E27FC236}">
                  <a16:creationId xmlns:a16="http://schemas.microsoft.com/office/drawing/2014/main" id="{F40D78CA-C1A7-4E12-85E0-5B21CEF3CB89}"/>
                </a:ext>
              </a:extLst>
            </p:cNvPr>
            <p:cNvSpPr/>
            <p:nvPr userDrawn="1"/>
          </p:nvSpPr>
          <p:spPr bwMode="auto">
            <a:xfrm>
              <a:off x="3379416" y="3023418"/>
              <a:ext cx="94350" cy="980257"/>
            </a:xfrm>
            <a:custGeom>
              <a:avLst/>
              <a:gdLst>
                <a:gd name="T0" fmla="*/ 33 w 33"/>
                <a:gd name="T1" fmla="*/ 345 h 345"/>
                <a:gd name="T2" fmla="*/ 0 w 33"/>
                <a:gd name="T3" fmla="*/ 345 h 345"/>
                <a:gd name="T4" fmla="*/ 0 w 33"/>
                <a:gd name="T5" fmla="*/ 17 h 345"/>
                <a:gd name="T6" fmla="*/ 17 w 33"/>
                <a:gd name="T7" fmla="*/ 0 h 345"/>
                <a:gd name="T8" fmla="*/ 33 w 33"/>
                <a:gd name="T9" fmla="*/ 17 h 345"/>
                <a:gd name="T10" fmla="*/ 33 w 33"/>
                <a:gd name="T11" fmla="*/ 345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345">
                  <a:moveTo>
                    <a:pt x="33" y="345"/>
                  </a:moveTo>
                  <a:cubicBezTo>
                    <a:pt x="0" y="345"/>
                    <a:pt x="0" y="345"/>
                    <a:pt x="0" y="345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6" y="0"/>
                    <a:pt x="33" y="8"/>
                    <a:pt x="33" y="17"/>
                  </a:cubicBezTo>
                  <a:lnTo>
                    <a:pt x="33" y="345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íṧḷidé">
              <a:extLst>
                <a:ext uri="{FF2B5EF4-FFF2-40B4-BE49-F238E27FC236}">
                  <a16:creationId xmlns:a16="http://schemas.microsoft.com/office/drawing/2014/main" id="{6B9EA5DD-B3B5-4674-982B-8269182E4792}"/>
                </a:ext>
              </a:extLst>
            </p:cNvPr>
            <p:cNvSpPr/>
            <p:nvPr userDrawn="1"/>
          </p:nvSpPr>
          <p:spPr bwMode="auto">
            <a:xfrm>
              <a:off x="2879484" y="5132196"/>
              <a:ext cx="363921" cy="142137"/>
            </a:xfrm>
            <a:custGeom>
              <a:avLst/>
              <a:gdLst>
                <a:gd name="T0" fmla="*/ 128 w 128"/>
                <a:gd name="T1" fmla="*/ 0 h 50"/>
                <a:gd name="T2" fmla="*/ 66 w 128"/>
                <a:gd name="T3" fmla="*/ 0 h 50"/>
                <a:gd name="T4" fmla="*/ 0 w 128"/>
                <a:gd name="T5" fmla="*/ 50 h 50"/>
                <a:gd name="T6" fmla="*/ 128 w 128"/>
                <a:gd name="T7" fmla="*/ 50 h 50"/>
                <a:gd name="T8" fmla="*/ 128 w 128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50">
                  <a:moveTo>
                    <a:pt x="128" y="0"/>
                  </a:moveTo>
                  <a:cubicBezTo>
                    <a:pt x="66" y="0"/>
                    <a:pt x="66" y="0"/>
                    <a:pt x="66" y="0"/>
                  </a:cubicBezTo>
                  <a:cubicBezTo>
                    <a:pt x="66" y="0"/>
                    <a:pt x="0" y="6"/>
                    <a:pt x="0" y="50"/>
                  </a:cubicBezTo>
                  <a:cubicBezTo>
                    <a:pt x="128" y="50"/>
                    <a:pt x="128" y="50"/>
                    <a:pt x="128" y="50"/>
                  </a:cubicBezTo>
                  <a:lnTo>
                    <a:pt x="128" y="0"/>
                  </a:lnTo>
                  <a:close/>
                </a:path>
              </a:pathLst>
            </a:custGeom>
            <a:solidFill>
              <a:srgbClr val="331D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i$ḷîde">
              <a:extLst>
                <a:ext uri="{FF2B5EF4-FFF2-40B4-BE49-F238E27FC236}">
                  <a16:creationId xmlns:a16="http://schemas.microsoft.com/office/drawing/2014/main" id="{BE7762C7-EE51-4CE3-80BE-B5E9BE586DE3}"/>
                </a:ext>
              </a:extLst>
            </p:cNvPr>
            <p:cNvSpPr/>
            <p:nvPr userDrawn="1"/>
          </p:nvSpPr>
          <p:spPr bwMode="auto">
            <a:xfrm>
              <a:off x="2791261" y="4003675"/>
              <a:ext cx="637167" cy="637167"/>
            </a:xfrm>
            <a:custGeom>
              <a:avLst/>
              <a:gdLst>
                <a:gd name="T0" fmla="*/ 222 w 224"/>
                <a:gd name="T1" fmla="*/ 209 h 224"/>
                <a:gd name="T2" fmla="*/ 85 w 224"/>
                <a:gd name="T3" fmla="*/ 193 h 224"/>
                <a:gd name="T4" fmla="*/ 49 w 224"/>
                <a:gd name="T5" fmla="*/ 22 h 224"/>
                <a:gd name="T6" fmla="*/ 85 w 224"/>
                <a:gd name="T7" fmla="*/ 11 h 224"/>
                <a:gd name="T8" fmla="*/ 42 w 224"/>
                <a:gd name="T9" fmla="*/ 0 h 224"/>
                <a:gd name="T10" fmla="*/ 0 w 224"/>
                <a:gd name="T11" fmla="*/ 11 h 224"/>
                <a:gd name="T12" fmla="*/ 31 w 224"/>
                <a:gd name="T13" fmla="*/ 21 h 224"/>
                <a:gd name="T14" fmla="*/ 79 w 224"/>
                <a:gd name="T15" fmla="*/ 207 h 224"/>
                <a:gd name="T16" fmla="*/ 200 w 224"/>
                <a:gd name="T17" fmla="*/ 224 h 224"/>
                <a:gd name="T18" fmla="*/ 224 w 224"/>
                <a:gd name="T19" fmla="*/ 224 h 224"/>
                <a:gd name="T20" fmla="*/ 222 w 224"/>
                <a:gd name="T21" fmla="*/ 209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4" h="224">
                  <a:moveTo>
                    <a:pt x="222" y="209"/>
                  </a:moveTo>
                  <a:cubicBezTo>
                    <a:pt x="221" y="209"/>
                    <a:pt x="157" y="214"/>
                    <a:pt x="85" y="193"/>
                  </a:cubicBezTo>
                  <a:cubicBezTo>
                    <a:pt x="34" y="178"/>
                    <a:pt x="41" y="72"/>
                    <a:pt x="49" y="22"/>
                  </a:cubicBezTo>
                  <a:cubicBezTo>
                    <a:pt x="69" y="21"/>
                    <a:pt x="85" y="16"/>
                    <a:pt x="85" y="11"/>
                  </a:cubicBezTo>
                  <a:cubicBezTo>
                    <a:pt x="85" y="5"/>
                    <a:pt x="66" y="0"/>
                    <a:pt x="42" y="0"/>
                  </a:cubicBezTo>
                  <a:cubicBezTo>
                    <a:pt x="19" y="0"/>
                    <a:pt x="0" y="5"/>
                    <a:pt x="0" y="11"/>
                  </a:cubicBezTo>
                  <a:cubicBezTo>
                    <a:pt x="0" y="16"/>
                    <a:pt x="13" y="20"/>
                    <a:pt x="31" y="21"/>
                  </a:cubicBezTo>
                  <a:cubicBezTo>
                    <a:pt x="25" y="61"/>
                    <a:pt x="11" y="187"/>
                    <a:pt x="79" y="207"/>
                  </a:cubicBezTo>
                  <a:cubicBezTo>
                    <a:pt x="128" y="222"/>
                    <a:pt x="174" y="224"/>
                    <a:pt x="200" y="224"/>
                  </a:cubicBezTo>
                  <a:cubicBezTo>
                    <a:pt x="214" y="224"/>
                    <a:pt x="223" y="224"/>
                    <a:pt x="224" y="224"/>
                  </a:cubicBezTo>
                  <a:lnTo>
                    <a:pt x="222" y="209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ïşḻïḓe">
              <a:extLst>
                <a:ext uri="{FF2B5EF4-FFF2-40B4-BE49-F238E27FC236}">
                  <a16:creationId xmlns:a16="http://schemas.microsoft.com/office/drawing/2014/main" id="{7A036AC6-CC89-4A17-9BF5-E7B1B736CC34}"/>
                </a:ext>
              </a:extLst>
            </p:cNvPr>
            <p:cNvSpPr/>
            <p:nvPr userDrawn="1"/>
          </p:nvSpPr>
          <p:spPr bwMode="auto">
            <a:xfrm>
              <a:off x="3448033" y="4003675"/>
              <a:ext cx="634716" cy="637167"/>
            </a:xfrm>
            <a:custGeom>
              <a:avLst/>
              <a:gdLst>
                <a:gd name="T0" fmla="*/ 2 w 223"/>
                <a:gd name="T1" fmla="*/ 209 h 224"/>
                <a:gd name="T2" fmla="*/ 138 w 223"/>
                <a:gd name="T3" fmla="*/ 193 h 224"/>
                <a:gd name="T4" fmla="*/ 175 w 223"/>
                <a:gd name="T5" fmla="*/ 22 h 224"/>
                <a:gd name="T6" fmla="*/ 139 w 223"/>
                <a:gd name="T7" fmla="*/ 11 h 224"/>
                <a:gd name="T8" fmla="*/ 181 w 223"/>
                <a:gd name="T9" fmla="*/ 0 h 224"/>
                <a:gd name="T10" fmla="*/ 223 w 223"/>
                <a:gd name="T11" fmla="*/ 11 h 224"/>
                <a:gd name="T12" fmla="*/ 193 w 223"/>
                <a:gd name="T13" fmla="*/ 21 h 224"/>
                <a:gd name="T14" fmla="*/ 144 w 223"/>
                <a:gd name="T15" fmla="*/ 207 h 224"/>
                <a:gd name="T16" fmla="*/ 24 w 223"/>
                <a:gd name="T17" fmla="*/ 224 h 224"/>
                <a:gd name="T18" fmla="*/ 0 w 223"/>
                <a:gd name="T19" fmla="*/ 224 h 224"/>
                <a:gd name="T20" fmla="*/ 2 w 223"/>
                <a:gd name="T21" fmla="*/ 209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3" h="224">
                  <a:moveTo>
                    <a:pt x="2" y="209"/>
                  </a:moveTo>
                  <a:cubicBezTo>
                    <a:pt x="2" y="209"/>
                    <a:pt x="67" y="214"/>
                    <a:pt x="138" y="193"/>
                  </a:cubicBezTo>
                  <a:cubicBezTo>
                    <a:pt x="190" y="178"/>
                    <a:pt x="183" y="72"/>
                    <a:pt x="175" y="22"/>
                  </a:cubicBezTo>
                  <a:cubicBezTo>
                    <a:pt x="155" y="21"/>
                    <a:pt x="139" y="16"/>
                    <a:pt x="139" y="11"/>
                  </a:cubicBezTo>
                  <a:cubicBezTo>
                    <a:pt x="139" y="5"/>
                    <a:pt x="158" y="0"/>
                    <a:pt x="181" y="0"/>
                  </a:cubicBezTo>
                  <a:cubicBezTo>
                    <a:pt x="205" y="0"/>
                    <a:pt x="223" y="5"/>
                    <a:pt x="223" y="11"/>
                  </a:cubicBezTo>
                  <a:cubicBezTo>
                    <a:pt x="223" y="16"/>
                    <a:pt x="211" y="20"/>
                    <a:pt x="193" y="21"/>
                  </a:cubicBezTo>
                  <a:cubicBezTo>
                    <a:pt x="199" y="61"/>
                    <a:pt x="213" y="187"/>
                    <a:pt x="144" y="207"/>
                  </a:cubicBezTo>
                  <a:cubicBezTo>
                    <a:pt x="95" y="222"/>
                    <a:pt x="50" y="224"/>
                    <a:pt x="24" y="224"/>
                  </a:cubicBezTo>
                  <a:cubicBezTo>
                    <a:pt x="10" y="224"/>
                    <a:pt x="1" y="224"/>
                    <a:pt x="0" y="224"/>
                  </a:cubicBezTo>
                  <a:lnTo>
                    <a:pt x="2" y="209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iṩḻïdè">
              <a:extLst>
                <a:ext uri="{FF2B5EF4-FFF2-40B4-BE49-F238E27FC236}">
                  <a16:creationId xmlns:a16="http://schemas.microsoft.com/office/drawing/2014/main" id="{4F1F048A-0DFF-4047-A96C-CDD318D1C55D}"/>
                </a:ext>
              </a:extLst>
            </p:cNvPr>
            <p:cNvSpPr/>
            <p:nvPr userDrawn="1"/>
          </p:nvSpPr>
          <p:spPr bwMode="auto">
            <a:xfrm>
              <a:off x="3351232" y="5140774"/>
              <a:ext cx="154391" cy="155616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íṧḻíḋe">
              <a:extLst>
                <a:ext uri="{FF2B5EF4-FFF2-40B4-BE49-F238E27FC236}">
                  <a16:creationId xmlns:a16="http://schemas.microsoft.com/office/drawing/2014/main" id="{7E3D1555-9967-463E-9E9F-F7798D0B1E59}"/>
                </a:ext>
              </a:extLst>
            </p:cNvPr>
            <p:cNvSpPr/>
            <p:nvPr userDrawn="1"/>
          </p:nvSpPr>
          <p:spPr bwMode="auto">
            <a:xfrm>
              <a:off x="3351232" y="3938733"/>
              <a:ext cx="154391" cy="155616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ïş1ïḓê">
              <a:extLst>
                <a:ext uri="{FF2B5EF4-FFF2-40B4-BE49-F238E27FC236}">
                  <a16:creationId xmlns:a16="http://schemas.microsoft.com/office/drawing/2014/main" id="{2F8B09D7-F978-4EBB-8359-FA129BBD12AC}"/>
                </a:ext>
              </a:extLst>
            </p:cNvPr>
            <p:cNvSpPr/>
            <p:nvPr userDrawn="1"/>
          </p:nvSpPr>
          <p:spPr bwMode="auto">
            <a:xfrm>
              <a:off x="3092691" y="5140774"/>
              <a:ext cx="156841" cy="155616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iṥḷïdé">
              <a:extLst>
                <a:ext uri="{FF2B5EF4-FFF2-40B4-BE49-F238E27FC236}">
                  <a16:creationId xmlns:a16="http://schemas.microsoft.com/office/drawing/2014/main" id="{A3740707-E853-471E-80F9-03B74FB77764}"/>
                </a:ext>
              </a:extLst>
            </p:cNvPr>
            <p:cNvSpPr/>
            <p:nvPr userDrawn="1"/>
          </p:nvSpPr>
          <p:spPr bwMode="auto">
            <a:xfrm>
              <a:off x="3607325" y="5140774"/>
              <a:ext cx="156841" cy="155616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îṩľîde">
              <a:extLst>
                <a:ext uri="{FF2B5EF4-FFF2-40B4-BE49-F238E27FC236}">
                  <a16:creationId xmlns:a16="http://schemas.microsoft.com/office/drawing/2014/main" id="{9E5DBF7A-9115-4EA5-ACEB-31A89AB7BA0F}"/>
                </a:ext>
              </a:extLst>
            </p:cNvPr>
            <p:cNvSpPr/>
            <p:nvPr userDrawn="1"/>
          </p:nvSpPr>
          <p:spPr bwMode="auto">
            <a:xfrm>
              <a:off x="3191941" y="5132196"/>
              <a:ext cx="472974" cy="53914"/>
            </a:xfrm>
            <a:prstGeom prst="rect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12/29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12/29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矩形 208">
            <a:extLst>
              <a:ext uri="{FF2B5EF4-FFF2-40B4-BE49-F238E27FC236}">
                <a16:creationId xmlns:a16="http://schemas.microsoft.com/office/drawing/2014/main" id="{8C37FE3A-6A6F-4D83-8E68-1ACB1353CE3B}"/>
              </a:ext>
            </a:extLst>
          </p:cNvPr>
          <p:cNvSpPr/>
          <p:nvPr userDrawn="1"/>
        </p:nvSpPr>
        <p:spPr>
          <a:xfrm>
            <a:off x="0" y="3501445"/>
            <a:ext cx="12192000" cy="33643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210" name="组合 209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1E61662C-3B31-49F7-B7A6-4C83CFB01F0B}"/>
              </a:ext>
            </a:extLst>
          </p:cNvPr>
          <p:cNvGrpSpPr/>
          <p:nvPr userDrawn="1"/>
        </p:nvGrpSpPr>
        <p:grpSpPr>
          <a:xfrm>
            <a:off x="2566182" y="1205559"/>
            <a:ext cx="3529818" cy="3435378"/>
            <a:chOff x="3660775" y="974725"/>
            <a:chExt cx="5043488" cy="4908550"/>
          </a:xfrm>
        </p:grpSpPr>
        <p:sp>
          <p:nvSpPr>
            <p:cNvPr id="211" name="îṣḷïde">
              <a:extLst>
                <a:ext uri="{FF2B5EF4-FFF2-40B4-BE49-F238E27FC236}">
                  <a16:creationId xmlns:a16="http://schemas.microsoft.com/office/drawing/2014/main" id="{9F815CED-9F4A-4838-B283-7E3090059E38}"/>
                </a:ext>
              </a:extLst>
            </p:cNvPr>
            <p:cNvSpPr/>
            <p:nvPr userDrawn="1"/>
          </p:nvSpPr>
          <p:spPr bwMode="auto">
            <a:xfrm>
              <a:off x="4000500" y="2686050"/>
              <a:ext cx="625475" cy="1471613"/>
            </a:xfrm>
            <a:custGeom>
              <a:avLst/>
              <a:gdLst>
                <a:gd name="T0" fmla="*/ 65 w 394"/>
                <a:gd name="T1" fmla="*/ 927 h 927"/>
                <a:gd name="T2" fmla="*/ 394 w 394"/>
                <a:gd name="T3" fmla="*/ 153 h 927"/>
                <a:gd name="T4" fmla="*/ 394 w 394"/>
                <a:gd name="T5" fmla="*/ 0 h 927"/>
                <a:gd name="T6" fmla="*/ 0 w 394"/>
                <a:gd name="T7" fmla="*/ 927 h 927"/>
                <a:gd name="T8" fmla="*/ 65 w 394"/>
                <a:gd name="T9" fmla="*/ 927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4" h="927">
                  <a:moveTo>
                    <a:pt x="65" y="927"/>
                  </a:moveTo>
                  <a:lnTo>
                    <a:pt x="394" y="153"/>
                  </a:lnTo>
                  <a:lnTo>
                    <a:pt x="394" y="0"/>
                  </a:lnTo>
                  <a:lnTo>
                    <a:pt x="0" y="927"/>
                  </a:lnTo>
                  <a:lnTo>
                    <a:pt x="65" y="927"/>
                  </a:lnTo>
                  <a:close/>
                </a:path>
              </a:pathLst>
            </a:cu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2" name="ïšḻíḍê">
              <a:extLst>
                <a:ext uri="{FF2B5EF4-FFF2-40B4-BE49-F238E27FC236}">
                  <a16:creationId xmlns:a16="http://schemas.microsoft.com/office/drawing/2014/main" id="{67DE7ED1-1B08-4F80-9FC2-6F89A9EE9CBF}"/>
                </a:ext>
              </a:extLst>
            </p:cNvPr>
            <p:cNvSpPr/>
            <p:nvPr userDrawn="1"/>
          </p:nvSpPr>
          <p:spPr bwMode="auto">
            <a:xfrm>
              <a:off x="4522788" y="2686050"/>
              <a:ext cx="103188" cy="246063"/>
            </a:xfrm>
            <a:custGeom>
              <a:avLst/>
              <a:gdLst>
                <a:gd name="T0" fmla="*/ 19 w 65"/>
                <a:gd name="T1" fmla="*/ 143 h 155"/>
                <a:gd name="T2" fmla="*/ 65 w 65"/>
                <a:gd name="T3" fmla="*/ 153 h 155"/>
                <a:gd name="T4" fmla="*/ 65 w 65"/>
                <a:gd name="T5" fmla="*/ 0 h 155"/>
                <a:gd name="T6" fmla="*/ 10 w 65"/>
                <a:gd name="T7" fmla="*/ 132 h 155"/>
                <a:gd name="T8" fmla="*/ 0 w 65"/>
                <a:gd name="T9" fmla="*/ 155 h 155"/>
                <a:gd name="T10" fmla="*/ 19 w 65"/>
                <a:gd name="T11" fmla="*/ 143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155">
                  <a:moveTo>
                    <a:pt x="19" y="143"/>
                  </a:moveTo>
                  <a:lnTo>
                    <a:pt x="65" y="153"/>
                  </a:lnTo>
                  <a:lnTo>
                    <a:pt x="65" y="0"/>
                  </a:lnTo>
                  <a:lnTo>
                    <a:pt x="10" y="132"/>
                  </a:lnTo>
                  <a:lnTo>
                    <a:pt x="0" y="155"/>
                  </a:lnTo>
                  <a:lnTo>
                    <a:pt x="19" y="143"/>
                  </a:lnTo>
                  <a:close/>
                </a:path>
              </a:pathLst>
            </a:custGeom>
            <a:solidFill>
              <a:srgbClr val="B57B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3" name="íšḷiḑe">
              <a:extLst>
                <a:ext uri="{FF2B5EF4-FFF2-40B4-BE49-F238E27FC236}">
                  <a16:creationId xmlns:a16="http://schemas.microsoft.com/office/drawing/2014/main" id="{7CE1EB59-FDFC-4B41-A456-22EA5FCC9CF9}"/>
                </a:ext>
              </a:extLst>
            </p:cNvPr>
            <p:cNvSpPr/>
            <p:nvPr userDrawn="1"/>
          </p:nvSpPr>
          <p:spPr bwMode="auto">
            <a:xfrm>
              <a:off x="6607175" y="1352550"/>
              <a:ext cx="1404938" cy="1403350"/>
            </a:xfrm>
            <a:custGeom>
              <a:avLst/>
              <a:gdLst>
                <a:gd name="T0" fmla="*/ 90 w 381"/>
                <a:gd name="T1" fmla="*/ 25 h 381"/>
                <a:gd name="T2" fmla="*/ 34 w 381"/>
                <a:gd name="T3" fmla="*/ 78 h 381"/>
                <a:gd name="T4" fmla="*/ 53 w 381"/>
                <a:gd name="T5" fmla="*/ 107 h 381"/>
                <a:gd name="T6" fmla="*/ 54 w 381"/>
                <a:gd name="T7" fmla="*/ 128 h 381"/>
                <a:gd name="T8" fmla="*/ 54 w 381"/>
                <a:gd name="T9" fmla="*/ 128 h 381"/>
                <a:gd name="T10" fmla="*/ 38 w 381"/>
                <a:gd name="T11" fmla="*/ 140 h 381"/>
                <a:gd name="T12" fmla="*/ 3 w 381"/>
                <a:gd name="T13" fmla="*/ 145 h 381"/>
                <a:gd name="T14" fmla="*/ 0 w 381"/>
                <a:gd name="T15" fmla="*/ 222 h 381"/>
                <a:gd name="T16" fmla="*/ 35 w 381"/>
                <a:gd name="T17" fmla="*/ 229 h 381"/>
                <a:gd name="T18" fmla="*/ 50 w 381"/>
                <a:gd name="T19" fmla="*/ 242 h 381"/>
                <a:gd name="T20" fmla="*/ 50 w 381"/>
                <a:gd name="T21" fmla="*/ 242 h 381"/>
                <a:gd name="T22" fmla="*/ 47 w 381"/>
                <a:gd name="T23" fmla="*/ 263 h 381"/>
                <a:gd name="T24" fmla="*/ 26 w 381"/>
                <a:gd name="T25" fmla="*/ 291 h 381"/>
                <a:gd name="T26" fmla="*/ 52 w 381"/>
                <a:gd name="T27" fmla="*/ 319 h 381"/>
                <a:gd name="T28" fmla="*/ 78 w 381"/>
                <a:gd name="T29" fmla="*/ 347 h 381"/>
                <a:gd name="T30" fmla="*/ 108 w 381"/>
                <a:gd name="T31" fmla="*/ 328 h 381"/>
                <a:gd name="T32" fmla="*/ 128 w 381"/>
                <a:gd name="T33" fmla="*/ 326 h 381"/>
                <a:gd name="T34" fmla="*/ 128 w 381"/>
                <a:gd name="T35" fmla="*/ 326 h 381"/>
                <a:gd name="T36" fmla="*/ 140 w 381"/>
                <a:gd name="T37" fmla="*/ 343 h 381"/>
                <a:gd name="T38" fmla="*/ 145 w 381"/>
                <a:gd name="T39" fmla="*/ 378 h 381"/>
                <a:gd name="T40" fmla="*/ 222 w 381"/>
                <a:gd name="T41" fmla="*/ 381 h 381"/>
                <a:gd name="T42" fmla="*/ 229 w 381"/>
                <a:gd name="T43" fmla="*/ 346 h 381"/>
                <a:gd name="T44" fmla="*/ 243 w 381"/>
                <a:gd name="T45" fmla="*/ 331 h 381"/>
                <a:gd name="T46" fmla="*/ 243 w 381"/>
                <a:gd name="T47" fmla="*/ 331 h 381"/>
                <a:gd name="T48" fmla="*/ 263 w 381"/>
                <a:gd name="T49" fmla="*/ 333 h 381"/>
                <a:gd name="T50" fmla="*/ 291 w 381"/>
                <a:gd name="T51" fmla="*/ 355 h 381"/>
                <a:gd name="T52" fmla="*/ 347 w 381"/>
                <a:gd name="T53" fmla="*/ 303 h 381"/>
                <a:gd name="T54" fmla="*/ 328 w 381"/>
                <a:gd name="T55" fmla="*/ 273 h 381"/>
                <a:gd name="T56" fmla="*/ 327 w 381"/>
                <a:gd name="T57" fmla="*/ 253 h 381"/>
                <a:gd name="T58" fmla="*/ 327 w 381"/>
                <a:gd name="T59" fmla="*/ 253 h 381"/>
                <a:gd name="T60" fmla="*/ 343 w 381"/>
                <a:gd name="T61" fmla="*/ 240 h 381"/>
                <a:gd name="T62" fmla="*/ 378 w 381"/>
                <a:gd name="T63" fmla="*/ 236 h 381"/>
                <a:gd name="T64" fmla="*/ 381 w 381"/>
                <a:gd name="T65" fmla="*/ 159 h 381"/>
                <a:gd name="T66" fmla="*/ 346 w 381"/>
                <a:gd name="T67" fmla="*/ 152 h 381"/>
                <a:gd name="T68" fmla="*/ 331 w 381"/>
                <a:gd name="T69" fmla="*/ 138 h 381"/>
                <a:gd name="T70" fmla="*/ 331 w 381"/>
                <a:gd name="T71" fmla="*/ 138 h 381"/>
                <a:gd name="T72" fmla="*/ 334 w 381"/>
                <a:gd name="T73" fmla="*/ 118 h 381"/>
                <a:gd name="T74" fmla="*/ 355 w 381"/>
                <a:gd name="T75" fmla="*/ 90 h 381"/>
                <a:gd name="T76" fmla="*/ 329 w 381"/>
                <a:gd name="T77" fmla="*/ 62 h 381"/>
                <a:gd name="T78" fmla="*/ 303 w 381"/>
                <a:gd name="T79" fmla="*/ 33 h 381"/>
                <a:gd name="T80" fmla="*/ 273 w 381"/>
                <a:gd name="T81" fmla="*/ 53 h 381"/>
                <a:gd name="T82" fmla="*/ 253 w 381"/>
                <a:gd name="T83" fmla="*/ 54 h 381"/>
                <a:gd name="T84" fmla="*/ 253 w 381"/>
                <a:gd name="T85" fmla="*/ 54 h 381"/>
                <a:gd name="T86" fmla="*/ 241 w 381"/>
                <a:gd name="T87" fmla="*/ 38 h 381"/>
                <a:gd name="T88" fmla="*/ 236 w 381"/>
                <a:gd name="T89" fmla="*/ 3 h 381"/>
                <a:gd name="T90" fmla="*/ 159 w 381"/>
                <a:gd name="T91" fmla="*/ 0 h 381"/>
                <a:gd name="T92" fmla="*/ 152 w 381"/>
                <a:gd name="T93" fmla="*/ 34 h 381"/>
                <a:gd name="T94" fmla="*/ 138 w 381"/>
                <a:gd name="T95" fmla="*/ 50 h 381"/>
                <a:gd name="T96" fmla="*/ 138 w 381"/>
                <a:gd name="T97" fmla="*/ 50 h 381"/>
                <a:gd name="T98" fmla="*/ 118 w 381"/>
                <a:gd name="T99" fmla="*/ 47 h 381"/>
                <a:gd name="T100" fmla="*/ 90 w 381"/>
                <a:gd name="T101" fmla="*/ 25 h 381"/>
                <a:gd name="T102" fmla="*/ 274 w 381"/>
                <a:gd name="T103" fmla="*/ 113 h 381"/>
                <a:gd name="T104" fmla="*/ 268 w 381"/>
                <a:gd name="T105" fmla="*/ 273 h 381"/>
                <a:gd name="T106" fmla="*/ 107 w 381"/>
                <a:gd name="T107" fmla="*/ 268 h 381"/>
                <a:gd name="T108" fmla="*/ 113 w 381"/>
                <a:gd name="T109" fmla="*/ 107 h 381"/>
                <a:gd name="T110" fmla="*/ 274 w 381"/>
                <a:gd name="T111" fmla="*/ 113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81" h="381">
                  <a:moveTo>
                    <a:pt x="90" y="25"/>
                  </a:moveTo>
                  <a:cubicBezTo>
                    <a:pt x="34" y="78"/>
                    <a:pt x="34" y="78"/>
                    <a:pt x="34" y="78"/>
                  </a:cubicBezTo>
                  <a:cubicBezTo>
                    <a:pt x="53" y="107"/>
                    <a:pt x="53" y="107"/>
                    <a:pt x="53" y="107"/>
                  </a:cubicBezTo>
                  <a:cubicBezTo>
                    <a:pt x="57" y="113"/>
                    <a:pt x="57" y="121"/>
                    <a:pt x="54" y="128"/>
                  </a:cubicBezTo>
                  <a:cubicBezTo>
                    <a:pt x="54" y="128"/>
                    <a:pt x="54" y="128"/>
                    <a:pt x="54" y="128"/>
                  </a:cubicBezTo>
                  <a:cubicBezTo>
                    <a:pt x="51" y="134"/>
                    <a:pt x="45" y="139"/>
                    <a:pt x="38" y="140"/>
                  </a:cubicBezTo>
                  <a:cubicBezTo>
                    <a:pt x="3" y="145"/>
                    <a:pt x="3" y="145"/>
                    <a:pt x="3" y="145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35" y="229"/>
                    <a:pt x="35" y="229"/>
                    <a:pt x="35" y="229"/>
                  </a:cubicBezTo>
                  <a:cubicBezTo>
                    <a:pt x="42" y="230"/>
                    <a:pt x="47" y="235"/>
                    <a:pt x="50" y="242"/>
                  </a:cubicBezTo>
                  <a:cubicBezTo>
                    <a:pt x="50" y="242"/>
                    <a:pt x="50" y="242"/>
                    <a:pt x="50" y="242"/>
                  </a:cubicBezTo>
                  <a:cubicBezTo>
                    <a:pt x="53" y="249"/>
                    <a:pt x="52" y="257"/>
                    <a:pt x="47" y="263"/>
                  </a:cubicBezTo>
                  <a:cubicBezTo>
                    <a:pt x="26" y="291"/>
                    <a:pt x="26" y="291"/>
                    <a:pt x="26" y="291"/>
                  </a:cubicBezTo>
                  <a:cubicBezTo>
                    <a:pt x="52" y="319"/>
                    <a:pt x="52" y="319"/>
                    <a:pt x="52" y="319"/>
                  </a:cubicBezTo>
                  <a:cubicBezTo>
                    <a:pt x="78" y="347"/>
                    <a:pt x="78" y="347"/>
                    <a:pt x="78" y="347"/>
                  </a:cubicBezTo>
                  <a:cubicBezTo>
                    <a:pt x="108" y="328"/>
                    <a:pt x="108" y="328"/>
                    <a:pt x="108" y="328"/>
                  </a:cubicBezTo>
                  <a:cubicBezTo>
                    <a:pt x="114" y="324"/>
                    <a:pt x="121" y="323"/>
                    <a:pt x="128" y="326"/>
                  </a:cubicBezTo>
                  <a:cubicBezTo>
                    <a:pt x="128" y="326"/>
                    <a:pt x="128" y="326"/>
                    <a:pt x="128" y="326"/>
                  </a:cubicBezTo>
                  <a:cubicBezTo>
                    <a:pt x="135" y="329"/>
                    <a:pt x="139" y="335"/>
                    <a:pt x="140" y="343"/>
                  </a:cubicBezTo>
                  <a:cubicBezTo>
                    <a:pt x="145" y="378"/>
                    <a:pt x="145" y="378"/>
                    <a:pt x="145" y="378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29" y="346"/>
                    <a:pt x="229" y="346"/>
                    <a:pt x="229" y="346"/>
                  </a:cubicBezTo>
                  <a:cubicBezTo>
                    <a:pt x="231" y="339"/>
                    <a:pt x="236" y="333"/>
                    <a:pt x="243" y="331"/>
                  </a:cubicBezTo>
                  <a:cubicBezTo>
                    <a:pt x="243" y="331"/>
                    <a:pt x="243" y="331"/>
                    <a:pt x="243" y="331"/>
                  </a:cubicBezTo>
                  <a:cubicBezTo>
                    <a:pt x="250" y="328"/>
                    <a:pt x="257" y="329"/>
                    <a:pt x="263" y="333"/>
                  </a:cubicBezTo>
                  <a:cubicBezTo>
                    <a:pt x="291" y="355"/>
                    <a:pt x="291" y="355"/>
                    <a:pt x="291" y="355"/>
                  </a:cubicBezTo>
                  <a:cubicBezTo>
                    <a:pt x="347" y="303"/>
                    <a:pt x="347" y="303"/>
                    <a:pt x="347" y="303"/>
                  </a:cubicBezTo>
                  <a:cubicBezTo>
                    <a:pt x="328" y="273"/>
                    <a:pt x="328" y="273"/>
                    <a:pt x="328" y="273"/>
                  </a:cubicBezTo>
                  <a:cubicBezTo>
                    <a:pt x="324" y="267"/>
                    <a:pt x="324" y="259"/>
                    <a:pt x="327" y="253"/>
                  </a:cubicBezTo>
                  <a:cubicBezTo>
                    <a:pt x="327" y="253"/>
                    <a:pt x="327" y="253"/>
                    <a:pt x="327" y="253"/>
                  </a:cubicBezTo>
                  <a:cubicBezTo>
                    <a:pt x="330" y="246"/>
                    <a:pt x="336" y="241"/>
                    <a:pt x="343" y="240"/>
                  </a:cubicBezTo>
                  <a:cubicBezTo>
                    <a:pt x="378" y="236"/>
                    <a:pt x="378" y="236"/>
                    <a:pt x="378" y="236"/>
                  </a:cubicBezTo>
                  <a:cubicBezTo>
                    <a:pt x="381" y="159"/>
                    <a:pt x="381" y="159"/>
                    <a:pt x="381" y="159"/>
                  </a:cubicBezTo>
                  <a:cubicBezTo>
                    <a:pt x="346" y="152"/>
                    <a:pt x="346" y="152"/>
                    <a:pt x="346" y="152"/>
                  </a:cubicBezTo>
                  <a:cubicBezTo>
                    <a:pt x="339" y="150"/>
                    <a:pt x="333" y="145"/>
                    <a:pt x="331" y="138"/>
                  </a:cubicBezTo>
                  <a:cubicBezTo>
                    <a:pt x="331" y="138"/>
                    <a:pt x="331" y="138"/>
                    <a:pt x="331" y="138"/>
                  </a:cubicBezTo>
                  <a:cubicBezTo>
                    <a:pt x="328" y="131"/>
                    <a:pt x="329" y="124"/>
                    <a:pt x="334" y="118"/>
                  </a:cubicBezTo>
                  <a:cubicBezTo>
                    <a:pt x="355" y="90"/>
                    <a:pt x="355" y="90"/>
                    <a:pt x="355" y="90"/>
                  </a:cubicBezTo>
                  <a:cubicBezTo>
                    <a:pt x="329" y="62"/>
                    <a:pt x="329" y="62"/>
                    <a:pt x="329" y="62"/>
                  </a:cubicBezTo>
                  <a:cubicBezTo>
                    <a:pt x="303" y="33"/>
                    <a:pt x="303" y="33"/>
                    <a:pt x="303" y="33"/>
                  </a:cubicBezTo>
                  <a:cubicBezTo>
                    <a:pt x="273" y="53"/>
                    <a:pt x="273" y="53"/>
                    <a:pt x="273" y="53"/>
                  </a:cubicBezTo>
                  <a:cubicBezTo>
                    <a:pt x="267" y="57"/>
                    <a:pt x="260" y="57"/>
                    <a:pt x="253" y="54"/>
                  </a:cubicBezTo>
                  <a:cubicBezTo>
                    <a:pt x="253" y="54"/>
                    <a:pt x="253" y="54"/>
                    <a:pt x="253" y="54"/>
                  </a:cubicBezTo>
                  <a:cubicBezTo>
                    <a:pt x="246" y="51"/>
                    <a:pt x="242" y="45"/>
                    <a:pt x="241" y="38"/>
                  </a:cubicBezTo>
                  <a:cubicBezTo>
                    <a:pt x="236" y="3"/>
                    <a:pt x="236" y="3"/>
                    <a:pt x="236" y="3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52" y="34"/>
                    <a:pt x="152" y="34"/>
                    <a:pt x="152" y="34"/>
                  </a:cubicBezTo>
                  <a:cubicBezTo>
                    <a:pt x="150" y="42"/>
                    <a:pt x="145" y="47"/>
                    <a:pt x="138" y="50"/>
                  </a:cubicBezTo>
                  <a:cubicBezTo>
                    <a:pt x="138" y="50"/>
                    <a:pt x="138" y="50"/>
                    <a:pt x="138" y="50"/>
                  </a:cubicBezTo>
                  <a:cubicBezTo>
                    <a:pt x="131" y="52"/>
                    <a:pt x="124" y="51"/>
                    <a:pt x="118" y="47"/>
                  </a:cubicBezTo>
                  <a:lnTo>
                    <a:pt x="90" y="25"/>
                  </a:lnTo>
                  <a:close/>
                  <a:moveTo>
                    <a:pt x="274" y="113"/>
                  </a:moveTo>
                  <a:cubicBezTo>
                    <a:pt x="316" y="159"/>
                    <a:pt x="314" y="231"/>
                    <a:pt x="268" y="273"/>
                  </a:cubicBezTo>
                  <a:cubicBezTo>
                    <a:pt x="222" y="316"/>
                    <a:pt x="150" y="313"/>
                    <a:pt x="107" y="268"/>
                  </a:cubicBezTo>
                  <a:cubicBezTo>
                    <a:pt x="65" y="222"/>
                    <a:pt x="67" y="150"/>
                    <a:pt x="113" y="107"/>
                  </a:cubicBezTo>
                  <a:cubicBezTo>
                    <a:pt x="159" y="64"/>
                    <a:pt x="231" y="67"/>
                    <a:pt x="274" y="113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4" name="îṩ1iḑé">
              <a:extLst>
                <a:ext uri="{FF2B5EF4-FFF2-40B4-BE49-F238E27FC236}">
                  <a16:creationId xmlns:a16="http://schemas.microsoft.com/office/drawing/2014/main" id="{693233A4-2E2D-4FEC-981E-F5A43CDC2A0D}"/>
                </a:ext>
              </a:extLst>
            </p:cNvPr>
            <p:cNvSpPr/>
            <p:nvPr userDrawn="1"/>
          </p:nvSpPr>
          <p:spPr bwMode="auto">
            <a:xfrm>
              <a:off x="8085138" y="1735138"/>
              <a:ext cx="619125" cy="619125"/>
            </a:xfrm>
            <a:custGeom>
              <a:avLst/>
              <a:gdLst>
                <a:gd name="T0" fmla="*/ 40 w 168"/>
                <a:gd name="T1" fmla="*/ 11 h 168"/>
                <a:gd name="T2" fmla="*/ 15 w 168"/>
                <a:gd name="T3" fmla="*/ 34 h 168"/>
                <a:gd name="T4" fmla="*/ 23 w 168"/>
                <a:gd name="T5" fmla="*/ 47 h 168"/>
                <a:gd name="T6" fmla="*/ 24 w 168"/>
                <a:gd name="T7" fmla="*/ 56 h 168"/>
                <a:gd name="T8" fmla="*/ 24 w 168"/>
                <a:gd name="T9" fmla="*/ 56 h 168"/>
                <a:gd name="T10" fmla="*/ 17 w 168"/>
                <a:gd name="T11" fmla="*/ 62 h 168"/>
                <a:gd name="T12" fmla="*/ 1 w 168"/>
                <a:gd name="T13" fmla="*/ 64 h 168"/>
                <a:gd name="T14" fmla="*/ 0 w 168"/>
                <a:gd name="T15" fmla="*/ 98 h 168"/>
                <a:gd name="T16" fmla="*/ 15 w 168"/>
                <a:gd name="T17" fmla="*/ 101 h 168"/>
                <a:gd name="T18" fmla="*/ 22 w 168"/>
                <a:gd name="T19" fmla="*/ 107 h 168"/>
                <a:gd name="T20" fmla="*/ 22 w 168"/>
                <a:gd name="T21" fmla="*/ 107 h 168"/>
                <a:gd name="T22" fmla="*/ 21 w 168"/>
                <a:gd name="T23" fmla="*/ 116 h 168"/>
                <a:gd name="T24" fmla="*/ 11 w 168"/>
                <a:gd name="T25" fmla="*/ 128 h 168"/>
                <a:gd name="T26" fmla="*/ 23 w 168"/>
                <a:gd name="T27" fmla="*/ 140 h 168"/>
                <a:gd name="T28" fmla="*/ 35 w 168"/>
                <a:gd name="T29" fmla="*/ 153 h 168"/>
                <a:gd name="T30" fmla="*/ 48 w 168"/>
                <a:gd name="T31" fmla="*/ 144 h 168"/>
                <a:gd name="T32" fmla="*/ 57 w 168"/>
                <a:gd name="T33" fmla="*/ 144 h 168"/>
                <a:gd name="T34" fmla="*/ 57 w 168"/>
                <a:gd name="T35" fmla="*/ 144 h 168"/>
                <a:gd name="T36" fmla="*/ 62 w 168"/>
                <a:gd name="T37" fmla="*/ 151 h 168"/>
                <a:gd name="T38" fmla="*/ 64 w 168"/>
                <a:gd name="T39" fmla="*/ 166 h 168"/>
                <a:gd name="T40" fmla="*/ 98 w 168"/>
                <a:gd name="T41" fmla="*/ 168 h 168"/>
                <a:gd name="T42" fmla="*/ 101 w 168"/>
                <a:gd name="T43" fmla="*/ 152 h 168"/>
                <a:gd name="T44" fmla="*/ 107 w 168"/>
                <a:gd name="T45" fmla="*/ 146 h 168"/>
                <a:gd name="T46" fmla="*/ 107 w 168"/>
                <a:gd name="T47" fmla="*/ 146 h 168"/>
                <a:gd name="T48" fmla="*/ 116 w 168"/>
                <a:gd name="T49" fmla="*/ 147 h 168"/>
                <a:gd name="T50" fmla="*/ 129 w 168"/>
                <a:gd name="T51" fmla="*/ 156 h 168"/>
                <a:gd name="T52" fmla="*/ 153 w 168"/>
                <a:gd name="T53" fmla="*/ 133 h 168"/>
                <a:gd name="T54" fmla="*/ 145 w 168"/>
                <a:gd name="T55" fmla="*/ 120 h 168"/>
                <a:gd name="T56" fmla="*/ 144 w 168"/>
                <a:gd name="T57" fmla="*/ 111 h 168"/>
                <a:gd name="T58" fmla="*/ 144 w 168"/>
                <a:gd name="T59" fmla="*/ 111 h 168"/>
                <a:gd name="T60" fmla="*/ 152 w 168"/>
                <a:gd name="T61" fmla="*/ 106 h 168"/>
                <a:gd name="T62" fmla="*/ 167 w 168"/>
                <a:gd name="T63" fmla="*/ 104 h 168"/>
                <a:gd name="T64" fmla="*/ 168 w 168"/>
                <a:gd name="T65" fmla="*/ 70 h 168"/>
                <a:gd name="T66" fmla="*/ 153 w 168"/>
                <a:gd name="T67" fmla="*/ 67 h 168"/>
                <a:gd name="T68" fmla="*/ 146 w 168"/>
                <a:gd name="T69" fmla="*/ 61 h 168"/>
                <a:gd name="T70" fmla="*/ 146 w 168"/>
                <a:gd name="T71" fmla="*/ 61 h 168"/>
                <a:gd name="T72" fmla="*/ 147 w 168"/>
                <a:gd name="T73" fmla="*/ 52 h 168"/>
                <a:gd name="T74" fmla="*/ 157 w 168"/>
                <a:gd name="T75" fmla="*/ 39 h 168"/>
                <a:gd name="T76" fmla="*/ 145 w 168"/>
                <a:gd name="T77" fmla="*/ 27 h 168"/>
                <a:gd name="T78" fmla="*/ 134 w 168"/>
                <a:gd name="T79" fmla="*/ 14 h 168"/>
                <a:gd name="T80" fmla="*/ 121 w 168"/>
                <a:gd name="T81" fmla="*/ 23 h 168"/>
                <a:gd name="T82" fmla="*/ 112 w 168"/>
                <a:gd name="T83" fmla="*/ 24 h 168"/>
                <a:gd name="T84" fmla="*/ 112 w 168"/>
                <a:gd name="T85" fmla="*/ 23 h 168"/>
                <a:gd name="T86" fmla="*/ 106 w 168"/>
                <a:gd name="T87" fmla="*/ 16 h 168"/>
                <a:gd name="T88" fmla="*/ 104 w 168"/>
                <a:gd name="T89" fmla="*/ 1 h 168"/>
                <a:gd name="T90" fmla="*/ 70 w 168"/>
                <a:gd name="T91" fmla="*/ 0 h 168"/>
                <a:gd name="T92" fmla="*/ 67 w 168"/>
                <a:gd name="T93" fmla="*/ 15 h 168"/>
                <a:gd name="T94" fmla="*/ 61 w 168"/>
                <a:gd name="T95" fmla="*/ 22 h 168"/>
                <a:gd name="T96" fmla="*/ 61 w 168"/>
                <a:gd name="T97" fmla="*/ 22 h 168"/>
                <a:gd name="T98" fmla="*/ 52 w 168"/>
                <a:gd name="T99" fmla="*/ 20 h 168"/>
                <a:gd name="T100" fmla="*/ 40 w 168"/>
                <a:gd name="T101" fmla="*/ 11 h 168"/>
                <a:gd name="T102" fmla="*/ 121 w 168"/>
                <a:gd name="T103" fmla="*/ 49 h 168"/>
                <a:gd name="T104" fmla="*/ 118 w 168"/>
                <a:gd name="T105" fmla="*/ 120 h 168"/>
                <a:gd name="T106" fmla="*/ 47 w 168"/>
                <a:gd name="T107" fmla="*/ 118 h 168"/>
                <a:gd name="T108" fmla="*/ 50 w 168"/>
                <a:gd name="T109" fmla="*/ 47 h 168"/>
                <a:gd name="T110" fmla="*/ 121 w 168"/>
                <a:gd name="T111" fmla="*/ 49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8" h="168">
                  <a:moveTo>
                    <a:pt x="40" y="11"/>
                  </a:moveTo>
                  <a:cubicBezTo>
                    <a:pt x="15" y="34"/>
                    <a:pt x="15" y="34"/>
                    <a:pt x="15" y="34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5" y="50"/>
                    <a:pt x="25" y="53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3" y="59"/>
                    <a:pt x="20" y="61"/>
                    <a:pt x="17" y="62"/>
                  </a:cubicBezTo>
                  <a:cubicBezTo>
                    <a:pt x="1" y="64"/>
                    <a:pt x="1" y="64"/>
                    <a:pt x="1" y="64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15" y="101"/>
                    <a:pt x="15" y="101"/>
                    <a:pt x="15" y="101"/>
                  </a:cubicBezTo>
                  <a:cubicBezTo>
                    <a:pt x="19" y="101"/>
                    <a:pt x="21" y="104"/>
                    <a:pt x="22" y="107"/>
                  </a:cubicBezTo>
                  <a:cubicBezTo>
                    <a:pt x="22" y="107"/>
                    <a:pt x="22" y="107"/>
                    <a:pt x="22" y="107"/>
                  </a:cubicBezTo>
                  <a:cubicBezTo>
                    <a:pt x="23" y="110"/>
                    <a:pt x="23" y="113"/>
                    <a:pt x="21" y="116"/>
                  </a:cubicBezTo>
                  <a:cubicBezTo>
                    <a:pt x="11" y="128"/>
                    <a:pt x="11" y="128"/>
                    <a:pt x="11" y="128"/>
                  </a:cubicBezTo>
                  <a:cubicBezTo>
                    <a:pt x="23" y="140"/>
                    <a:pt x="23" y="140"/>
                    <a:pt x="23" y="140"/>
                  </a:cubicBezTo>
                  <a:cubicBezTo>
                    <a:pt x="35" y="153"/>
                    <a:pt x="35" y="153"/>
                    <a:pt x="35" y="153"/>
                  </a:cubicBezTo>
                  <a:cubicBezTo>
                    <a:pt x="48" y="144"/>
                    <a:pt x="48" y="144"/>
                    <a:pt x="48" y="144"/>
                  </a:cubicBezTo>
                  <a:cubicBezTo>
                    <a:pt x="50" y="143"/>
                    <a:pt x="54" y="142"/>
                    <a:pt x="57" y="144"/>
                  </a:cubicBezTo>
                  <a:cubicBezTo>
                    <a:pt x="57" y="144"/>
                    <a:pt x="57" y="144"/>
                    <a:pt x="57" y="144"/>
                  </a:cubicBezTo>
                  <a:cubicBezTo>
                    <a:pt x="60" y="145"/>
                    <a:pt x="62" y="148"/>
                    <a:pt x="62" y="151"/>
                  </a:cubicBezTo>
                  <a:cubicBezTo>
                    <a:pt x="64" y="166"/>
                    <a:pt x="64" y="166"/>
                    <a:pt x="64" y="166"/>
                  </a:cubicBezTo>
                  <a:cubicBezTo>
                    <a:pt x="98" y="168"/>
                    <a:pt x="98" y="168"/>
                    <a:pt x="98" y="168"/>
                  </a:cubicBezTo>
                  <a:cubicBezTo>
                    <a:pt x="101" y="152"/>
                    <a:pt x="101" y="152"/>
                    <a:pt x="101" y="152"/>
                  </a:cubicBezTo>
                  <a:cubicBezTo>
                    <a:pt x="102" y="149"/>
                    <a:pt x="104" y="147"/>
                    <a:pt x="107" y="146"/>
                  </a:cubicBezTo>
                  <a:cubicBezTo>
                    <a:pt x="107" y="146"/>
                    <a:pt x="107" y="146"/>
                    <a:pt x="107" y="146"/>
                  </a:cubicBezTo>
                  <a:cubicBezTo>
                    <a:pt x="110" y="145"/>
                    <a:pt x="114" y="145"/>
                    <a:pt x="116" y="147"/>
                  </a:cubicBezTo>
                  <a:cubicBezTo>
                    <a:pt x="129" y="156"/>
                    <a:pt x="129" y="156"/>
                    <a:pt x="129" y="156"/>
                  </a:cubicBezTo>
                  <a:cubicBezTo>
                    <a:pt x="153" y="133"/>
                    <a:pt x="153" y="133"/>
                    <a:pt x="153" y="133"/>
                  </a:cubicBezTo>
                  <a:cubicBezTo>
                    <a:pt x="145" y="120"/>
                    <a:pt x="145" y="120"/>
                    <a:pt x="145" y="120"/>
                  </a:cubicBezTo>
                  <a:cubicBezTo>
                    <a:pt x="143" y="118"/>
                    <a:pt x="143" y="114"/>
                    <a:pt x="144" y="111"/>
                  </a:cubicBezTo>
                  <a:cubicBezTo>
                    <a:pt x="144" y="111"/>
                    <a:pt x="144" y="111"/>
                    <a:pt x="144" y="111"/>
                  </a:cubicBezTo>
                  <a:cubicBezTo>
                    <a:pt x="146" y="108"/>
                    <a:pt x="148" y="106"/>
                    <a:pt x="152" y="106"/>
                  </a:cubicBezTo>
                  <a:cubicBezTo>
                    <a:pt x="167" y="104"/>
                    <a:pt x="167" y="104"/>
                    <a:pt x="167" y="104"/>
                  </a:cubicBezTo>
                  <a:cubicBezTo>
                    <a:pt x="168" y="70"/>
                    <a:pt x="168" y="70"/>
                    <a:pt x="168" y="70"/>
                  </a:cubicBezTo>
                  <a:cubicBezTo>
                    <a:pt x="153" y="67"/>
                    <a:pt x="153" y="67"/>
                    <a:pt x="153" y="67"/>
                  </a:cubicBezTo>
                  <a:cubicBezTo>
                    <a:pt x="150" y="66"/>
                    <a:pt x="147" y="64"/>
                    <a:pt x="146" y="61"/>
                  </a:cubicBezTo>
                  <a:cubicBezTo>
                    <a:pt x="146" y="61"/>
                    <a:pt x="146" y="61"/>
                    <a:pt x="146" y="61"/>
                  </a:cubicBezTo>
                  <a:cubicBezTo>
                    <a:pt x="145" y="58"/>
                    <a:pt x="145" y="54"/>
                    <a:pt x="147" y="52"/>
                  </a:cubicBezTo>
                  <a:cubicBezTo>
                    <a:pt x="157" y="39"/>
                    <a:pt x="157" y="39"/>
                    <a:pt x="157" y="39"/>
                  </a:cubicBezTo>
                  <a:cubicBezTo>
                    <a:pt x="145" y="27"/>
                    <a:pt x="145" y="27"/>
                    <a:pt x="145" y="27"/>
                  </a:cubicBezTo>
                  <a:cubicBezTo>
                    <a:pt x="134" y="14"/>
                    <a:pt x="134" y="14"/>
                    <a:pt x="134" y="14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118" y="25"/>
                    <a:pt x="115" y="25"/>
                    <a:pt x="112" y="24"/>
                  </a:cubicBezTo>
                  <a:cubicBezTo>
                    <a:pt x="112" y="23"/>
                    <a:pt x="112" y="23"/>
                    <a:pt x="112" y="23"/>
                  </a:cubicBezTo>
                  <a:cubicBezTo>
                    <a:pt x="109" y="22"/>
                    <a:pt x="107" y="19"/>
                    <a:pt x="106" y="16"/>
                  </a:cubicBezTo>
                  <a:cubicBezTo>
                    <a:pt x="104" y="1"/>
                    <a:pt x="104" y="1"/>
                    <a:pt x="104" y="1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66" y="18"/>
                    <a:pt x="64" y="20"/>
                    <a:pt x="61" y="22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58" y="23"/>
                    <a:pt x="55" y="22"/>
                    <a:pt x="52" y="20"/>
                  </a:cubicBezTo>
                  <a:lnTo>
                    <a:pt x="40" y="11"/>
                  </a:lnTo>
                  <a:close/>
                  <a:moveTo>
                    <a:pt x="121" y="49"/>
                  </a:moveTo>
                  <a:cubicBezTo>
                    <a:pt x="140" y="70"/>
                    <a:pt x="139" y="102"/>
                    <a:pt x="118" y="120"/>
                  </a:cubicBezTo>
                  <a:cubicBezTo>
                    <a:pt x="98" y="139"/>
                    <a:pt x="66" y="138"/>
                    <a:pt x="47" y="118"/>
                  </a:cubicBezTo>
                  <a:cubicBezTo>
                    <a:pt x="29" y="97"/>
                    <a:pt x="30" y="66"/>
                    <a:pt x="50" y="47"/>
                  </a:cubicBezTo>
                  <a:cubicBezTo>
                    <a:pt x="70" y="28"/>
                    <a:pt x="102" y="29"/>
                    <a:pt x="121" y="49"/>
                  </a:cubicBezTo>
                  <a:close/>
                </a:path>
              </a:pathLst>
            </a:cu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5" name="ïṧ1îďê">
              <a:extLst>
                <a:ext uri="{FF2B5EF4-FFF2-40B4-BE49-F238E27FC236}">
                  <a16:creationId xmlns:a16="http://schemas.microsoft.com/office/drawing/2014/main" id="{82077191-990F-46EB-AC7D-3BD85432FB73}"/>
                </a:ext>
              </a:extLst>
            </p:cNvPr>
            <p:cNvSpPr/>
            <p:nvPr userDrawn="1"/>
          </p:nvSpPr>
          <p:spPr bwMode="auto">
            <a:xfrm>
              <a:off x="5824538" y="974725"/>
              <a:ext cx="914400" cy="911225"/>
            </a:xfrm>
            <a:custGeom>
              <a:avLst/>
              <a:gdLst>
                <a:gd name="T0" fmla="*/ 59 w 248"/>
                <a:gd name="T1" fmla="*/ 17 h 248"/>
                <a:gd name="T2" fmla="*/ 22 w 248"/>
                <a:gd name="T3" fmla="*/ 51 h 248"/>
                <a:gd name="T4" fmla="*/ 35 w 248"/>
                <a:gd name="T5" fmla="*/ 70 h 248"/>
                <a:gd name="T6" fmla="*/ 36 w 248"/>
                <a:gd name="T7" fmla="*/ 83 h 248"/>
                <a:gd name="T8" fmla="*/ 36 w 248"/>
                <a:gd name="T9" fmla="*/ 83 h 248"/>
                <a:gd name="T10" fmla="*/ 25 w 248"/>
                <a:gd name="T11" fmla="*/ 91 h 248"/>
                <a:gd name="T12" fmla="*/ 2 w 248"/>
                <a:gd name="T13" fmla="*/ 94 h 248"/>
                <a:gd name="T14" fmla="*/ 0 w 248"/>
                <a:gd name="T15" fmla="*/ 144 h 248"/>
                <a:gd name="T16" fmla="*/ 23 w 248"/>
                <a:gd name="T17" fmla="*/ 149 h 248"/>
                <a:gd name="T18" fmla="*/ 33 w 248"/>
                <a:gd name="T19" fmla="*/ 158 h 248"/>
                <a:gd name="T20" fmla="*/ 33 w 248"/>
                <a:gd name="T21" fmla="*/ 158 h 248"/>
                <a:gd name="T22" fmla="*/ 31 w 248"/>
                <a:gd name="T23" fmla="*/ 171 h 248"/>
                <a:gd name="T24" fmla="*/ 17 w 248"/>
                <a:gd name="T25" fmla="*/ 189 h 248"/>
                <a:gd name="T26" fmla="*/ 34 w 248"/>
                <a:gd name="T27" fmla="*/ 207 h 248"/>
                <a:gd name="T28" fmla="*/ 51 w 248"/>
                <a:gd name="T29" fmla="*/ 226 h 248"/>
                <a:gd name="T30" fmla="*/ 70 w 248"/>
                <a:gd name="T31" fmla="*/ 213 h 248"/>
                <a:gd name="T32" fmla="*/ 84 w 248"/>
                <a:gd name="T33" fmla="*/ 212 h 248"/>
                <a:gd name="T34" fmla="*/ 84 w 248"/>
                <a:gd name="T35" fmla="*/ 212 h 248"/>
                <a:gd name="T36" fmla="*/ 92 w 248"/>
                <a:gd name="T37" fmla="*/ 223 h 248"/>
                <a:gd name="T38" fmla="*/ 95 w 248"/>
                <a:gd name="T39" fmla="*/ 246 h 248"/>
                <a:gd name="T40" fmla="*/ 145 w 248"/>
                <a:gd name="T41" fmla="*/ 248 h 248"/>
                <a:gd name="T42" fmla="*/ 149 w 248"/>
                <a:gd name="T43" fmla="*/ 225 h 248"/>
                <a:gd name="T44" fmla="*/ 158 w 248"/>
                <a:gd name="T45" fmla="*/ 215 h 248"/>
                <a:gd name="T46" fmla="*/ 158 w 248"/>
                <a:gd name="T47" fmla="*/ 215 h 248"/>
                <a:gd name="T48" fmla="*/ 171 w 248"/>
                <a:gd name="T49" fmla="*/ 217 h 248"/>
                <a:gd name="T50" fmla="*/ 189 w 248"/>
                <a:gd name="T51" fmla="*/ 231 h 248"/>
                <a:gd name="T52" fmla="*/ 226 w 248"/>
                <a:gd name="T53" fmla="*/ 197 h 248"/>
                <a:gd name="T54" fmla="*/ 213 w 248"/>
                <a:gd name="T55" fmla="*/ 178 h 248"/>
                <a:gd name="T56" fmla="*/ 213 w 248"/>
                <a:gd name="T57" fmla="*/ 165 h 248"/>
                <a:gd name="T58" fmla="*/ 213 w 248"/>
                <a:gd name="T59" fmla="*/ 164 h 248"/>
                <a:gd name="T60" fmla="*/ 223 w 248"/>
                <a:gd name="T61" fmla="*/ 156 h 248"/>
                <a:gd name="T62" fmla="*/ 246 w 248"/>
                <a:gd name="T63" fmla="*/ 153 h 248"/>
                <a:gd name="T64" fmla="*/ 248 w 248"/>
                <a:gd name="T65" fmla="*/ 103 h 248"/>
                <a:gd name="T66" fmla="*/ 225 w 248"/>
                <a:gd name="T67" fmla="*/ 99 h 248"/>
                <a:gd name="T68" fmla="*/ 215 w 248"/>
                <a:gd name="T69" fmla="*/ 90 h 248"/>
                <a:gd name="T70" fmla="*/ 215 w 248"/>
                <a:gd name="T71" fmla="*/ 90 h 248"/>
                <a:gd name="T72" fmla="*/ 217 w 248"/>
                <a:gd name="T73" fmla="*/ 77 h 248"/>
                <a:gd name="T74" fmla="*/ 231 w 248"/>
                <a:gd name="T75" fmla="*/ 59 h 248"/>
                <a:gd name="T76" fmla="*/ 214 w 248"/>
                <a:gd name="T77" fmla="*/ 40 h 248"/>
                <a:gd name="T78" fmla="*/ 197 w 248"/>
                <a:gd name="T79" fmla="*/ 22 h 248"/>
                <a:gd name="T80" fmla="*/ 178 w 248"/>
                <a:gd name="T81" fmla="*/ 35 h 248"/>
                <a:gd name="T82" fmla="*/ 165 w 248"/>
                <a:gd name="T83" fmla="*/ 35 h 248"/>
                <a:gd name="T84" fmla="*/ 165 w 248"/>
                <a:gd name="T85" fmla="*/ 35 h 248"/>
                <a:gd name="T86" fmla="*/ 157 w 248"/>
                <a:gd name="T87" fmla="*/ 25 h 248"/>
                <a:gd name="T88" fmla="*/ 154 w 248"/>
                <a:gd name="T89" fmla="*/ 2 h 248"/>
                <a:gd name="T90" fmla="*/ 104 w 248"/>
                <a:gd name="T91" fmla="*/ 0 h 248"/>
                <a:gd name="T92" fmla="*/ 99 w 248"/>
                <a:gd name="T93" fmla="*/ 23 h 248"/>
                <a:gd name="T94" fmla="*/ 90 w 248"/>
                <a:gd name="T95" fmla="*/ 33 h 248"/>
                <a:gd name="T96" fmla="*/ 90 w 248"/>
                <a:gd name="T97" fmla="*/ 33 h 248"/>
                <a:gd name="T98" fmla="*/ 77 w 248"/>
                <a:gd name="T99" fmla="*/ 31 h 248"/>
                <a:gd name="T100" fmla="*/ 59 w 248"/>
                <a:gd name="T101" fmla="*/ 17 h 248"/>
                <a:gd name="T102" fmla="*/ 178 w 248"/>
                <a:gd name="T103" fmla="*/ 74 h 248"/>
                <a:gd name="T104" fmla="*/ 174 w 248"/>
                <a:gd name="T105" fmla="*/ 178 h 248"/>
                <a:gd name="T106" fmla="*/ 70 w 248"/>
                <a:gd name="T107" fmla="*/ 174 h 248"/>
                <a:gd name="T108" fmla="*/ 74 w 248"/>
                <a:gd name="T109" fmla="*/ 70 h 248"/>
                <a:gd name="T110" fmla="*/ 178 w 248"/>
                <a:gd name="T111" fmla="*/ 74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48" h="248">
                  <a:moveTo>
                    <a:pt x="59" y="17"/>
                  </a:moveTo>
                  <a:cubicBezTo>
                    <a:pt x="22" y="51"/>
                    <a:pt x="22" y="51"/>
                    <a:pt x="22" y="51"/>
                  </a:cubicBezTo>
                  <a:cubicBezTo>
                    <a:pt x="35" y="70"/>
                    <a:pt x="35" y="70"/>
                    <a:pt x="35" y="70"/>
                  </a:cubicBezTo>
                  <a:cubicBezTo>
                    <a:pt x="37" y="74"/>
                    <a:pt x="38" y="79"/>
                    <a:pt x="36" y="83"/>
                  </a:cubicBezTo>
                  <a:cubicBezTo>
                    <a:pt x="36" y="83"/>
                    <a:pt x="36" y="83"/>
                    <a:pt x="36" y="83"/>
                  </a:cubicBezTo>
                  <a:cubicBezTo>
                    <a:pt x="34" y="88"/>
                    <a:pt x="30" y="91"/>
                    <a:pt x="25" y="91"/>
                  </a:cubicBezTo>
                  <a:cubicBezTo>
                    <a:pt x="2" y="94"/>
                    <a:pt x="2" y="94"/>
                    <a:pt x="2" y="9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23" y="149"/>
                    <a:pt x="23" y="149"/>
                    <a:pt x="23" y="149"/>
                  </a:cubicBezTo>
                  <a:cubicBezTo>
                    <a:pt x="28" y="150"/>
                    <a:pt x="31" y="153"/>
                    <a:pt x="33" y="158"/>
                  </a:cubicBezTo>
                  <a:cubicBezTo>
                    <a:pt x="33" y="158"/>
                    <a:pt x="33" y="158"/>
                    <a:pt x="33" y="158"/>
                  </a:cubicBezTo>
                  <a:cubicBezTo>
                    <a:pt x="35" y="162"/>
                    <a:pt x="34" y="167"/>
                    <a:pt x="31" y="171"/>
                  </a:cubicBezTo>
                  <a:cubicBezTo>
                    <a:pt x="17" y="189"/>
                    <a:pt x="17" y="189"/>
                    <a:pt x="17" y="189"/>
                  </a:cubicBezTo>
                  <a:cubicBezTo>
                    <a:pt x="34" y="207"/>
                    <a:pt x="34" y="207"/>
                    <a:pt x="34" y="207"/>
                  </a:cubicBezTo>
                  <a:cubicBezTo>
                    <a:pt x="51" y="226"/>
                    <a:pt x="51" y="226"/>
                    <a:pt x="51" y="226"/>
                  </a:cubicBezTo>
                  <a:cubicBezTo>
                    <a:pt x="70" y="213"/>
                    <a:pt x="70" y="213"/>
                    <a:pt x="70" y="213"/>
                  </a:cubicBezTo>
                  <a:cubicBezTo>
                    <a:pt x="74" y="211"/>
                    <a:pt x="79" y="210"/>
                    <a:pt x="84" y="212"/>
                  </a:cubicBezTo>
                  <a:cubicBezTo>
                    <a:pt x="84" y="212"/>
                    <a:pt x="84" y="212"/>
                    <a:pt x="84" y="212"/>
                  </a:cubicBezTo>
                  <a:cubicBezTo>
                    <a:pt x="88" y="214"/>
                    <a:pt x="91" y="218"/>
                    <a:pt x="92" y="223"/>
                  </a:cubicBezTo>
                  <a:cubicBezTo>
                    <a:pt x="95" y="246"/>
                    <a:pt x="95" y="246"/>
                    <a:pt x="95" y="246"/>
                  </a:cubicBezTo>
                  <a:cubicBezTo>
                    <a:pt x="145" y="248"/>
                    <a:pt x="145" y="248"/>
                    <a:pt x="145" y="248"/>
                  </a:cubicBezTo>
                  <a:cubicBezTo>
                    <a:pt x="149" y="225"/>
                    <a:pt x="149" y="225"/>
                    <a:pt x="149" y="225"/>
                  </a:cubicBezTo>
                  <a:cubicBezTo>
                    <a:pt x="150" y="220"/>
                    <a:pt x="154" y="217"/>
                    <a:pt x="158" y="215"/>
                  </a:cubicBezTo>
                  <a:cubicBezTo>
                    <a:pt x="158" y="215"/>
                    <a:pt x="158" y="215"/>
                    <a:pt x="158" y="215"/>
                  </a:cubicBezTo>
                  <a:cubicBezTo>
                    <a:pt x="163" y="213"/>
                    <a:pt x="167" y="214"/>
                    <a:pt x="171" y="217"/>
                  </a:cubicBezTo>
                  <a:cubicBezTo>
                    <a:pt x="189" y="231"/>
                    <a:pt x="189" y="231"/>
                    <a:pt x="189" y="231"/>
                  </a:cubicBezTo>
                  <a:cubicBezTo>
                    <a:pt x="226" y="197"/>
                    <a:pt x="226" y="197"/>
                    <a:pt x="226" y="197"/>
                  </a:cubicBezTo>
                  <a:cubicBezTo>
                    <a:pt x="213" y="178"/>
                    <a:pt x="213" y="178"/>
                    <a:pt x="213" y="178"/>
                  </a:cubicBezTo>
                  <a:cubicBezTo>
                    <a:pt x="211" y="174"/>
                    <a:pt x="211" y="169"/>
                    <a:pt x="213" y="165"/>
                  </a:cubicBezTo>
                  <a:cubicBezTo>
                    <a:pt x="213" y="164"/>
                    <a:pt x="213" y="164"/>
                    <a:pt x="213" y="164"/>
                  </a:cubicBezTo>
                  <a:cubicBezTo>
                    <a:pt x="215" y="160"/>
                    <a:pt x="219" y="157"/>
                    <a:pt x="223" y="156"/>
                  </a:cubicBezTo>
                  <a:cubicBezTo>
                    <a:pt x="246" y="153"/>
                    <a:pt x="246" y="153"/>
                    <a:pt x="246" y="153"/>
                  </a:cubicBezTo>
                  <a:cubicBezTo>
                    <a:pt x="248" y="103"/>
                    <a:pt x="248" y="103"/>
                    <a:pt x="248" y="103"/>
                  </a:cubicBezTo>
                  <a:cubicBezTo>
                    <a:pt x="225" y="99"/>
                    <a:pt x="225" y="99"/>
                    <a:pt x="225" y="99"/>
                  </a:cubicBezTo>
                  <a:cubicBezTo>
                    <a:pt x="221" y="98"/>
                    <a:pt x="217" y="94"/>
                    <a:pt x="215" y="90"/>
                  </a:cubicBezTo>
                  <a:cubicBezTo>
                    <a:pt x="215" y="90"/>
                    <a:pt x="215" y="90"/>
                    <a:pt x="215" y="90"/>
                  </a:cubicBezTo>
                  <a:cubicBezTo>
                    <a:pt x="214" y="86"/>
                    <a:pt x="214" y="81"/>
                    <a:pt x="217" y="77"/>
                  </a:cubicBezTo>
                  <a:cubicBezTo>
                    <a:pt x="231" y="59"/>
                    <a:pt x="231" y="59"/>
                    <a:pt x="231" y="59"/>
                  </a:cubicBezTo>
                  <a:cubicBezTo>
                    <a:pt x="214" y="40"/>
                    <a:pt x="214" y="40"/>
                    <a:pt x="214" y="40"/>
                  </a:cubicBezTo>
                  <a:cubicBezTo>
                    <a:pt x="197" y="22"/>
                    <a:pt x="197" y="22"/>
                    <a:pt x="197" y="22"/>
                  </a:cubicBezTo>
                  <a:cubicBezTo>
                    <a:pt x="178" y="35"/>
                    <a:pt x="178" y="35"/>
                    <a:pt x="178" y="35"/>
                  </a:cubicBezTo>
                  <a:cubicBezTo>
                    <a:pt x="174" y="37"/>
                    <a:pt x="169" y="37"/>
                    <a:pt x="165" y="35"/>
                  </a:cubicBezTo>
                  <a:cubicBezTo>
                    <a:pt x="165" y="35"/>
                    <a:pt x="165" y="35"/>
                    <a:pt x="165" y="35"/>
                  </a:cubicBezTo>
                  <a:cubicBezTo>
                    <a:pt x="160" y="33"/>
                    <a:pt x="157" y="30"/>
                    <a:pt x="157" y="25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99" y="23"/>
                    <a:pt x="99" y="23"/>
                    <a:pt x="99" y="23"/>
                  </a:cubicBezTo>
                  <a:cubicBezTo>
                    <a:pt x="98" y="27"/>
                    <a:pt x="95" y="31"/>
                    <a:pt x="90" y="33"/>
                  </a:cubicBezTo>
                  <a:cubicBezTo>
                    <a:pt x="90" y="33"/>
                    <a:pt x="90" y="33"/>
                    <a:pt x="90" y="33"/>
                  </a:cubicBezTo>
                  <a:cubicBezTo>
                    <a:pt x="86" y="34"/>
                    <a:pt x="81" y="34"/>
                    <a:pt x="77" y="31"/>
                  </a:cubicBezTo>
                  <a:lnTo>
                    <a:pt x="59" y="17"/>
                  </a:lnTo>
                  <a:close/>
                  <a:moveTo>
                    <a:pt x="178" y="74"/>
                  </a:moveTo>
                  <a:cubicBezTo>
                    <a:pt x="206" y="104"/>
                    <a:pt x="204" y="150"/>
                    <a:pt x="174" y="178"/>
                  </a:cubicBezTo>
                  <a:cubicBezTo>
                    <a:pt x="145" y="206"/>
                    <a:pt x="98" y="204"/>
                    <a:pt x="70" y="174"/>
                  </a:cubicBezTo>
                  <a:cubicBezTo>
                    <a:pt x="42" y="144"/>
                    <a:pt x="44" y="98"/>
                    <a:pt x="74" y="70"/>
                  </a:cubicBezTo>
                  <a:cubicBezTo>
                    <a:pt x="104" y="42"/>
                    <a:pt x="151" y="44"/>
                    <a:pt x="178" y="74"/>
                  </a:cubicBezTo>
                  <a:close/>
                </a:path>
              </a:pathLst>
            </a:cu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6" name="íşlïďê">
              <a:extLst>
                <a:ext uri="{FF2B5EF4-FFF2-40B4-BE49-F238E27FC236}">
                  <a16:creationId xmlns:a16="http://schemas.microsoft.com/office/drawing/2014/main" id="{C238C2D4-A315-4A67-AF83-E608C0C4D71E}"/>
                </a:ext>
              </a:extLst>
            </p:cNvPr>
            <p:cNvSpPr/>
            <p:nvPr userDrawn="1"/>
          </p:nvSpPr>
          <p:spPr bwMode="auto">
            <a:xfrm>
              <a:off x="3660775" y="4157663"/>
              <a:ext cx="4867275" cy="125413"/>
            </a:xfrm>
            <a:custGeom>
              <a:avLst/>
              <a:gdLst>
                <a:gd name="T0" fmla="*/ 17 w 1320"/>
                <a:gd name="T1" fmla="*/ 34 h 34"/>
                <a:gd name="T2" fmla="*/ 1303 w 1320"/>
                <a:gd name="T3" fmla="*/ 34 h 34"/>
                <a:gd name="T4" fmla="*/ 1320 w 1320"/>
                <a:gd name="T5" fmla="*/ 17 h 34"/>
                <a:gd name="T6" fmla="*/ 1303 w 1320"/>
                <a:gd name="T7" fmla="*/ 0 h 34"/>
                <a:gd name="T8" fmla="*/ 17 w 1320"/>
                <a:gd name="T9" fmla="*/ 0 h 34"/>
                <a:gd name="T10" fmla="*/ 0 w 1320"/>
                <a:gd name="T11" fmla="*/ 17 h 34"/>
                <a:gd name="T12" fmla="*/ 17 w 1320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20" h="34">
                  <a:moveTo>
                    <a:pt x="17" y="34"/>
                  </a:moveTo>
                  <a:cubicBezTo>
                    <a:pt x="1303" y="34"/>
                    <a:pt x="1303" y="34"/>
                    <a:pt x="1303" y="34"/>
                  </a:cubicBezTo>
                  <a:cubicBezTo>
                    <a:pt x="1313" y="34"/>
                    <a:pt x="1320" y="27"/>
                    <a:pt x="1320" y="17"/>
                  </a:cubicBezTo>
                  <a:cubicBezTo>
                    <a:pt x="1320" y="8"/>
                    <a:pt x="1313" y="0"/>
                    <a:pt x="1303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7" y="0"/>
                    <a:pt x="0" y="8"/>
                    <a:pt x="0" y="17"/>
                  </a:cubicBezTo>
                  <a:cubicBezTo>
                    <a:pt x="0" y="27"/>
                    <a:pt x="7" y="34"/>
                    <a:pt x="17" y="34"/>
                  </a:cubicBezTo>
                  <a:close/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7" name="íśḷïdè">
              <a:extLst>
                <a:ext uri="{FF2B5EF4-FFF2-40B4-BE49-F238E27FC236}">
                  <a16:creationId xmlns:a16="http://schemas.microsoft.com/office/drawing/2014/main" id="{FB21D5AA-DD86-4396-9505-2B9F47F0C2CC}"/>
                </a:ext>
              </a:extLst>
            </p:cNvPr>
            <p:cNvSpPr/>
            <p:nvPr userDrawn="1"/>
          </p:nvSpPr>
          <p:spPr bwMode="auto">
            <a:xfrm>
              <a:off x="3663950" y="4246563"/>
              <a:ext cx="4859338" cy="36513"/>
            </a:xfrm>
            <a:custGeom>
              <a:avLst/>
              <a:gdLst>
                <a:gd name="T0" fmla="*/ 0 w 1318"/>
                <a:gd name="T1" fmla="*/ 0 h 10"/>
                <a:gd name="T2" fmla="*/ 16 w 1318"/>
                <a:gd name="T3" fmla="*/ 10 h 10"/>
                <a:gd name="T4" fmla="*/ 1302 w 1318"/>
                <a:gd name="T5" fmla="*/ 10 h 10"/>
                <a:gd name="T6" fmla="*/ 1318 w 1318"/>
                <a:gd name="T7" fmla="*/ 0 h 10"/>
                <a:gd name="T8" fmla="*/ 0 w 1318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18" h="10">
                  <a:moveTo>
                    <a:pt x="0" y="0"/>
                  </a:moveTo>
                  <a:cubicBezTo>
                    <a:pt x="3" y="6"/>
                    <a:pt x="9" y="10"/>
                    <a:pt x="16" y="10"/>
                  </a:cubicBezTo>
                  <a:cubicBezTo>
                    <a:pt x="1302" y="10"/>
                    <a:pt x="1302" y="10"/>
                    <a:pt x="1302" y="10"/>
                  </a:cubicBezTo>
                  <a:cubicBezTo>
                    <a:pt x="1309" y="10"/>
                    <a:pt x="1315" y="6"/>
                    <a:pt x="1318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8" name="îṥlïḋê">
              <a:extLst>
                <a:ext uri="{FF2B5EF4-FFF2-40B4-BE49-F238E27FC236}">
                  <a16:creationId xmlns:a16="http://schemas.microsoft.com/office/drawing/2014/main" id="{881A9875-ABC3-430C-8E2C-3A83041D85FA}"/>
                </a:ext>
              </a:extLst>
            </p:cNvPr>
            <p:cNvSpPr/>
            <p:nvPr userDrawn="1"/>
          </p:nvSpPr>
          <p:spPr bwMode="auto">
            <a:xfrm>
              <a:off x="5121275" y="4090988"/>
              <a:ext cx="1758950" cy="66675"/>
            </a:xfrm>
            <a:prstGeom prst="rect">
              <a:avLst/>
            </a:prstGeom>
            <a:solidFill>
              <a:srgbClr val="C5C4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9" name="îṣľíḑê">
              <a:extLst>
                <a:ext uri="{FF2B5EF4-FFF2-40B4-BE49-F238E27FC236}">
                  <a16:creationId xmlns:a16="http://schemas.microsoft.com/office/drawing/2014/main" id="{034FC554-C133-4260-ABC8-1DCA170091B6}"/>
                </a:ext>
              </a:extLst>
            </p:cNvPr>
            <p:cNvSpPr/>
            <p:nvPr userDrawn="1"/>
          </p:nvSpPr>
          <p:spPr bwMode="auto">
            <a:xfrm>
              <a:off x="5300663" y="4090988"/>
              <a:ext cx="1758950" cy="66675"/>
            </a:xfrm>
            <a:prstGeom prst="rect">
              <a:avLst/>
            </a:prstGeom>
            <a:solidFill>
              <a:srgbClr val="A5A5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0" name="iṩ1idè">
              <a:extLst>
                <a:ext uri="{FF2B5EF4-FFF2-40B4-BE49-F238E27FC236}">
                  <a16:creationId xmlns:a16="http://schemas.microsoft.com/office/drawing/2014/main" id="{135256E0-6AD7-489D-B654-3212BD3B17C6}"/>
                </a:ext>
              </a:extLst>
            </p:cNvPr>
            <p:cNvSpPr/>
            <p:nvPr userDrawn="1"/>
          </p:nvSpPr>
          <p:spPr bwMode="auto">
            <a:xfrm>
              <a:off x="4689475" y="1924050"/>
              <a:ext cx="2824163" cy="1762125"/>
            </a:xfrm>
            <a:custGeom>
              <a:avLst/>
              <a:gdLst>
                <a:gd name="T0" fmla="*/ 738 w 766"/>
                <a:gd name="T1" fmla="*/ 479 h 479"/>
                <a:gd name="T2" fmla="*/ 28 w 766"/>
                <a:gd name="T3" fmla="*/ 479 h 479"/>
                <a:gd name="T4" fmla="*/ 0 w 766"/>
                <a:gd name="T5" fmla="*/ 451 h 479"/>
                <a:gd name="T6" fmla="*/ 0 w 766"/>
                <a:gd name="T7" fmla="*/ 28 h 479"/>
                <a:gd name="T8" fmla="*/ 28 w 766"/>
                <a:gd name="T9" fmla="*/ 0 h 479"/>
                <a:gd name="T10" fmla="*/ 738 w 766"/>
                <a:gd name="T11" fmla="*/ 0 h 479"/>
                <a:gd name="T12" fmla="*/ 766 w 766"/>
                <a:gd name="T13" fmla="*/ 28 h 479"/>
                <a:gd name="T14" fmla="*/ 766 w 766"/>
                <a:gd name="T15" fmla="*/ 451 h 479"/>
                <a:gd name="T16" fmla="*/ 738 w 766"/>
                <a:gd name="T17" fmla="*/ 479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6" h="479">
                  <a:moveTo>
                    <a:pt x="738" y="479"/>
                  </a:moveTo>
                  <a:cubicBezTo>
                    <a:pt x="28" y="479"/>
                    <a:pt x="28" y="479"/>
                    <a:pt x="28" y="479"/>
                  </a:cubicBezTo>
                  <a:cubicBezTo>
                    <a:pt x="12" y="479"/>
                    <a:pt x="0" y="467"/>
                    <a:pt x="0" y="451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2" y="0"/>
                    <a:pt x="28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53" y="0"/>
                    <a:pt x="766" y="13"/>
                    <a:pt x="766" y="28"/>
                  </a:cubicBezTo>
                  <a:cubicBezTo>
                    <a:pt x="766" y="451"/>
                    <a:pt x="766" y="451"/>
                    <a:pt x="766" y="451"/>
                  </a:cubicBezTo>
                  <a:cubicBezTo>
                    <a:pt x="766" y="467"/>
                    <a:pt x="753" y="479"/>
                    <a:pt x="738" y="479"/>
                  </a:cubicBezTo>
                </a:path>
              </a:pathLst>
            </a:custGeom>
            <a:solidFill>
              <a:srgbClr val="172F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1" name="ï$1iďè">
              <a:extLst>
                <a:ext uri="{FF2B5EF4-FFF2-40B4-BE49-F238E27FC236}">
                  <a16:creationId xmlns:a16="http://schemas.microsoft.com/office/drawing/2014/main" id="{F6AA95AF-CFE7-468E-B732-26B1BD4D19EE}"/>
                </a:ext>
              </a:extLst>
            </p:cNvPr>
            <p:cNvSpPr/>
            <p:nvPr userDrawn="1"/>
          </p:nvSpPr>
          <p:spPr bwMode="auto">
            <a:xfrm>
              <a:off x="6083300" y="2189163"/>
              <a:ext cx="36513" cy="1231900"/>
            </a:xfrm>
            <a:prstGeom prst="rect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2" name="ïŝḻïḓè">
              <a:extLst>
                <a:ext uri="{FF2B5EF4-FFF2-40B4-BE49-F238E27FC236}">
                  <a16:creationId xmlns:a16="http://schemas.microsoft.com/office/drawing/2014/main" id="{34614279-AE0A-42EB-BD13-292D920E2637}"/>
                </a:ext>
              </a:extLst>
            </p:cNvPr>
            <p:cNvSpPr/>
            <p:nvPr userDrawn="1"/>
          </p:nvSpPr>
          <p:spPr bwMode="auto">
            <a:xfrm>
              <a:off x="4689475" y="1924050"/>
              <a:ext cx="2824163" cy="184150"/>
            </a:xfrm>
            <a:custGeom>
              <a:avLst/>
              <a:gdLst>
                <a:gd name="T0" fmla="*/ 766 w 766"/>
                <a:gd name="T1" fmla="*/ 50 h 50"/>
                <a:gd name="T2" fmla="*/ 766 w 766"/>
                <a:gd name="T3" fmla="*/ 26 h 50"/>
                <a:gd name="T4" fmla="*/ 740 w 766"/>
                <a:gd name="T5" fmla="*/ 0 h 50"/>
                <a:gd name="T6" fmla="*/ 25 w 766"/>
                <a:gd name="T7" fmla="*/ 0 h 50"/>
                <a:gd name="T8" fmla="*/ 0 w 766"/>
                <a:gd name="T9" fmla="*/ 26 h 50"/>
                <a:gd name="T10" fmla="*/ 0 w 766"/>
                <a:gd name="T11" fmla="*/ 50 h 50"/>
                <a:gd name="T12" fmla="*/ 766 w 766"/>
                <a:gd name="T1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6" h="50">
                  <a:moveTo>
                    <a:pt x="766" y="50"/>
                  </a:moveTo>
                  <a:cubicBezTo>
                    <a:pt x="766" y="26"/>
                    <a:pt x="766" y="26"/>
                    <a:pt x="766" y="26"/>
                  </a:cubicBezTo>
                  <a:cubicBezTo>
                    <a:pt x="766" y="12"/>
                    <a:pt x="754" y="0"/>
                    <a:pt x="740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2"/>
                    <a:pt x="0" y="26"/>
                  </a:cubicBezTo>
                  <a:cubicBezTo>
                    <a:pt x="0" y="50"/>
                    <a:pt x="0" y="50"/>
                    <a:pt x="0" y="50"/>
                  </a:cubicBezTo>
                  <a:lnTo>
                    <a:pt x="766" y="50"/>
                  </a:lnTo>
                  <a:close/>
                </a:path>
              </a:pathLst>
            </a:custGeom>
            <a:solidFill>
              <a:srgbClr val="A7A6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3" name="íṧľîḑe">
              <a:extLst>
                <a:ext uri="{FF2B5EF4-FFF2-40B4-BE49-F238E27FC236}">
                  <a16:creationId xmlns:a16="http://schemas.microsoft.com/office/drawing/2014/main" id="{298945AC-65AD-4286-BA45-E7C81CABBA4A}"/>
                </a:ext>
              </a:extLst>
            </p:cNvPr>
            <p:cNvSpPr/>
            <p:nvPr userDrawn="1"/>
          </p:nvSpPr>
          <p:spPr bwMode="auto">
            <a:xfrm>
              <a:off x="6323013" y="2828925"/>
              <a:ext cx="390525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4" name="ísļídè">
              <a:extLst>
                <a:ext uri="{FF2B5EF4-FFF2-40B4-BE49-F238E27FC236}">
                  <a16:creationId xmlns:a16="http://schemas.microsoft.com/office/drawing/2014/main" id="{29689A9A-61E9-4824-81B3-A2A002BA92BD}"/>
                </a:ext>
              </a:extLst>
            </p:cNvPr>
            <p:cNvSpPr/>
            <p:nvPr userDrawn="1"/>
          </p:nvSpPr>
          <p:spPr bwMode="auto">
            <a:xfrm>
              <a:off x="6323013" y="2957513"/>
              <a:ext cx="485775" cy="66675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5" name="îSlíḑè">
              <a:extLst>
                <a:ext uri="{FF2B5EF4-FFF2-40B4-BE49-F238E27FC236}">
                  <a16:creationId xmlns:a16="http://schemas.microsoft.com/office/drawing/2014/main" id="{B0B64C9E-6C96-4267-87EC-BA99FC6A8F1A}"/>
                </a:ext>
              </a:extLst>
            </p:cNvPr>
            <p:cNvSpPr/>
            <p:nvPr userDrawn="1"/>
          </p:nvSpPr>
          <p:spPr bwMode="auto">
            <a:xfrm>
              <a:off x="6858000" y="2957513"/>
              <a:ext cx="239713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6" name="ïslíďê">
              <a:extLst>
                <a:ext uri="{FF2B5EF4-FFF2-40B4-BE49-F238E27FC236}">
                  <a16:creationId xmlns:a16="http://schemas.microsoft.com/office/drawing/2014/main" id="{595D0915-7554-4636-B827-D4D6168C24E9}"/>
                </a:ext>
              </a:extLst>
            </p:cNvPr>
            <p:cNvSpPr/>
            <p:nvPr userDrawn="1"/>
          </p:nvSpPr>
          <p:spPr bwMode="auto">
            <a:xfrm>
              <a:off x="6323013" y="3086100"/>
              <a:ext cx="192088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7" name="íṥļïďé">
              <a:extLst>
                <a:ext uri="{FF2B5EF4-FFF2-40B4-BE49-F238E27FC236}">
                  <a16:creationId xmlns:a16="http://schemas.microsoft.com/office/drawing/2014/main" id="{528FE62F-C06E-494D-890A-E500CB0FA152}"/>
                </a:ext>
              </a:extLst>
            </p:cNvPr>
            <p:cNvSpPr/>
            <p:nvPr userDrawn="1"/>
          </p:nvSpPr>
          <p:spPr bwMode="auto">
            <a:xfrm>
              <a:off x="6580188" y="3086100"/>
              <a:ext cx="715963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8" name="ïṧḻiďê">
              <a:extLst>
                <a:ext uri="{FF2B5EF4-FFF2-40B4-BE49-F238E27FC236}">
                  <a16:creationId xmlns:a16="http://schemas.microsoft.com/office/drawing/2014/main" id="{8B84DC9C-E176-480B-8065-BCFEF8896A50}"/>
                </a:ext>
              </a:extLst>
            </p:cNvPr>
            <p:cNvSpPr/>
            <p:nvPr userDrawn="1"/>
          </p:nvSpPr>
          <p:spPr bwMode="auto">
            <a:xfrm>
              <a:off x="6580188" y="3086100"/>
              <a:ext cx="715963" cy="666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9" name="îṩḻiḓê">
              <a:extLst>
                <a:ext uri="{FF2B5EF4-FFF2-40B4-BE49-F238E27FC236}">
                  <a16:creationId xmlns:a16="http://schemas.microsoft.com/office/drawing/2014/main" id="{C0870957-D403-4800-B4B0-C7C51FF56F3D}"/>
                </a:ext>
              </a:extLst>
            </p:cNvPr>
            <p:cNvSpPr/>
            <p:nvPr userDrawn="1"/>
          </p:nvSpPr>
          <p:spPr bwMode="auto">
            <a:xfrm>
              <a:off x="6802438" y="2828925"/>
              <a:ext cx="223838" cy="66675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0" name="îŝ1îḍê">
              <a:extLst>
                <a:ext uri="{FF2B5EF4-FFF2-40B4-BE49-F238E27FC236}">
                  <a16:creationId xmlns:a16="http://schemas.microsoft.com/office/drawing/2014/main" id="{7A1C70C2-D69C-44C8-B8DC-90B30B3FDED9}"/>
                </a:ext>
              </a:extLst>
            </p:cNvPr>
            <p:cNvSpPr/>
            <p:nvPr userDrawn="1"/>
          </p:nvSpPr>
          <p:spPr bwMode="auto">
            <a:xfrm>
              <a:off x="6323013" y="2220913"/>
              <a:ext cx="390525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1" name="iṩ1îďé">
              <a:extLst>
                <a:ext uri="{FF2B5EF4-FFF2-40B4-BE49-F238E27FC236}">
                  <a16:creationId xmlns:a16="http://schemas.microsoft.com/office/drawing/2014/main" id="{5B66572D-DFEB-44A8-BCB9-6D2A59AFB190}"/>
                </a:ext>
              </a:extLst>
            </p:cNvPr>
            <p:cNvSpPr/>
            <p:nvPr userDrawn="1"/>
          </p:nvSpPr>
          <p:spPr bwMode="auto">
            <a:xfrm>
              <a:off x="6323013" y="2351088"/>
              <a:ext cx="485775" cy="65088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2" name="iSḻíḍe">
              <a:extLst>
                <a:ext uri="{FF2B5EF4-FFF2-40B4-BE49-F238E27FC236}">
                  <a16:creationId xmlns:a16="http://schemas.microsoft.com/office/drawing/2014/main" id="{D984DE33-B66B-4605-B722-BDA90EFA2831}"/>
                </a:ext>
              </a:extLst>
            </p:cNvPr>
            <p:cNvSpPr/>
            <p:nvPr userDrawn="1"/>
          </p:nvSpPr>
          <p:spPr bwMode="auto">
            <a:xfrm>
              <a:off x="6858000" y="2351088"/>
              <a:ext cx="239713" cy="65088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3" name="íṥ1iḍè">
              <a:extLst>
                <a:ext uri="{FF2B5EF4-FFF2-40B4-BE49-F238E27FC236}">
                  <a16:creationId xmlns:a16="http://schemas.microsoft.com/office/drawing/2014/main" id="{F0B0A692-2AA2-49A8-8776-54DE8F97BD1C}"/>
                </a:ext>
              </a:extLst>
            </p:cNvPr>
            <p:cNvSpPr/>
            <p:nvPr userDrawn="1"/>
          </p:nvSpPr>
          <p:spPr bwMode="auto">
            <a:xfrm>
              <a:off x="6323013" y="2479675"/>
              <a:ext cx="192088" cy="65088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4" name="íṡ1íḓe">
              <a:extLst>
                <a:ext uri="{FF2B5EF4-FFF2-40B4-BE49-F238E27FC236}">
                  <a16:creationId xmlns:a16="http://schemas.microsoft.com/office/drawing/2014/main" id="{BEFC73D3-5675-4EB0-B738-8D4610EC0F81}"/>
                </a:ext>
              </a:extLst>
            </p:cNvPr>
            <p:cNvSpPr/>
            <p:nvPr userDrawn="1"/>
          </p:nvSpPr>
          <p:spPr bwMode="auto">
            <a:xfrm>
              <a:off x="6580188" y="2479675"/>
              <a:ext cx="715963" cy="65088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5" name="íŝľíḑe">
              <a:extLst>
                <a:ext uri="{FF2B5EF4-FFF2-40B4-BE49-F238E27FC236}">
                  <a16:creationId xmlns:a16="http://schemas.microsoft.com/office/drawing/2014/main" id="{97EFC203-7A3E-48BB-A2FD-D90A595525E0}"/>
                </a:ext>
              </a:extLst>
            </p:cNvPr>
            <p:cNvSpPr/>
            <p:nvPr userDrawn="1"/>
          </p:nvSpPr>
          <p:spPr bwMode="auto">
            <a:xfrm>
              <a:off x="6802438" y="2220913"/>
              <a:ext cx="223838" cy="66675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6" name="ïṥ1îḓè">
              <a:extLst>
                <a:ext uri="{FF2B5EF4-FFF2-40B4-BE49-F238E27FC236}">
                  <a16:creationId xmlns:a16="http://schemas.microsoft.com/office/drawing/2014/main" id="{6B048252-4BA1-459A-8E21-21E8ABB24328}"/>
                </a:ext>
              </a:extLst>
            </p:cNvPr>
            <p:cNvSpPr/>
            <p:nvPr userDrawn="1"/>
          </p:nvSpPr>
          <p:spPr bwMode="auto">
            <a:xfrm>
              <a:off x="5002213" y="2828925"/>
              <a:ext cx="392113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7" name="íṡḷidê">
              <a:extLst>
                <a:ext uri="{FF2B5EF4-FFF2-40B4-BE49-F238E27FC236}">
                  <a16:creationId xmlns:a16="http://schemas.microsoft.com/office/drawing/2014/main" id="{03A25EA9-7DDA-4805-9FEC-F058B82DA08B}"/>
                </a:ext>
              </a:extLst>
            </p:cNvPr>
            <p:cNvSpPr/>
            <p:nvPr userDrawn="1"/>
          </p:nvSpPr>
          <p:spPr bwMode="auto">
            <a:xfrm>
              <a:off x="5002213" y="2957513"/>
              <a:ext cx="484188" cy="66675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8" name="ïSḻïḑe">
              <a:extLst>
                <a:ext uri="{FF2B5EF4-FFF2-40B4-BE49-F238E27FC236}">
                  <a16:creationId xmlns:a16="http://schemas.microsoft.com/office/drawing/2014/main" id="{D9AA68E9-86CB-48C9-B761-014F222EFC4A}"/>
                </a:ext>
              </a:extLst>
            </p:cNvPr>
            <p:cNvSpPr/>
            <p:nvPr userDrawn="1"/>
          </p:nvSpPr>
          <p:spPr bwMode="auto">
            <a:xfrm>
              <a:off x="5537200" y="2957513"/>
              <a:ext cx="239713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9" name="ïŝlîḋe">
              <a:extLst>
                <a:ext uri="{FF2B5EF4-FFF2-40B4-BE49-F238E27FC236}">
                  <a16:creationId xmlns:a16="http://schemas.microsoft.com/office/drawing/2014/main" id="{DF610359-D451-47FC-B413-07CEFB9F9C35}"/>
                </a:ext>
              </a:extLst>
            </p:cNvPr>
            <p:cNvSpPr/>
            <p:nvPr userDrawn="1"/>
          </p:nvSpPr>
          <p:spPr bwMode="auto">
            <a:xfrm>
              <a:off x="5002213" y="3086100"/>
              <a:ext cx="192088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0" name="ïṣḷidè">
              <a:extLst>
                <a:ext uri="{FF2B5EF4-FFF2-40B4-BE49-F238E27FC236}">
                  <a16:creationId xmlns:a16="http://schemas.microsoft.com/office/drawing/2014/main" id="{86EE2074-5A4B-4337-8775-5260608E4AE3}"/>
                </a:ext>
              </a:extLst>
            </p:cNvPr>
            <p:cNvSpPr/>
            <p:nvPr userDrawn="1"/>
          </p:nvSpPr>
          <p:spPr bwMode="auto">
            <a:xfrm>
              <a:off x="5260975" y="3086100"/>
              <a:ext cx="711200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1" name="íṧľîḓê">
              <a:extLst>
                <a:ext uri="{FF2B5EF4-FFF2-40B4-BE49-F238E27FC236}">
                  <a16:creationId xmlns:a16="http://schemas.microsoft.com/office/drawing/2014/main" id="{6EC69D07-7976-4CBC-A4D7-08893777C416}"/>
                </a:ext>
              </a:extLst>
            </p:cNvPr>
            <p:cNvSpPr/>
            <p:nvPr userDrawn="1"/>
          </p:nvSpPr>
          <p:spPr bwMode="auto">
            <a:xfrm>
              <a:off x="5481638" y="2828925"/>
              <a:ext cx="225425" cy="66675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2" name="ïšḷîḓe">
              <a:extLst>
                <a:ext uri="{FF2B5EF4-FFF2-40B4-BE49-F238E27FC236}">
                  <a16:creationId xmlns:a16="http://schemas.microsoft.com/office/drawing/2014/main" id="{E2772D90-51F0-4204-B851-A02DEE86D856}"/>
                </a:ext>
              </a:extLst>
            </p:cNvPr>
            <p:cNvSpPr/>
            <p:nvPr userDrawn="1"/>
          </p:nvSpPr>
          <p:spPr bwMode="auto">
            <a:xfrm>
              <a:off x="5002213" y="2220913"/>
              <a:ext cx="392113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3" name="îśliḍé">
              <a:extLst>
                <a:ext uri="{FF2B5EF4-FFF2-40B4-BE49-F238E27FC236}">
                  <a16:creationId xmlns:a16="http://schemas.microsoft.com/office/drawing/2014/main" id="{44D1F172-0703-47BB-83D1-B7A21C244CE8}"/>
                </a:ext>
              </a:extLst>
            </p:cNvPr>
            <p:cNvSpPr/>
            <p:nvPr userDrawn="1"/>
          </p:nvSpPr>
          <p:spPr bwMode="auto">
            <a:xfrm>
              <a:off x="5002213" y="2351088"/>
              <a:ext cx="484188" cy="65088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4" name="iṥ1iḍê">
              <a:extLst>
                <a:ext uri="{FF2B5EF4-FFF2-40B4-BE49-F238E27FC236}">
                  <a16:creationId xmlns:a16="http://schemas.microsoft.com/office/drawing/2014/main" id="{C1846154-6A09-41D4-A7EF-0CB356236893}"/>
                </a:ext>
              </a:extLst>
            </p:cNvPr>
            <p:cNvSpPr/>
            <p:nvPr userDrawn="1"/>
          </p:nvSpPr>
          <p:spPr bwMode="auto">
            <a:xfrm>
              <a:off x="5537200" y="2351088"/>
              <a:ext cx="239713" cy="65088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5" name="ïSlïḑe">
              <a:extLst>
                <a:ext uri="{FF2B5EF4-FFF2-40B4-BE49-F238E27FC236}">
                  <a16:creationId xmlns:a16="http://schemas.microsoft.com/office/drawing/2014/main" id="{9128667E-8000-48E0-BD9C-7C3A79C24791}"/>
                </a:ext>
              </a:extLst>
            </p:cNvPr>
            <p:cNvSpPr/>
            <p:nvPr userDrawn="1"/>
          </p:nvSpPr>
          <p:spPr bwMode="auto">
            <a:xfrm>
              <a:off x="5002213" y="2479675"/>
              <a:ext cx="192088" cy="65088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6" name="ïśľîďe">
              <a:extLst>
                <a:ext uri="{FF2B5EF4-FFF2-40B4-BE49-F238E27FC236}">
                  <a16:creationId xmlns:a16="http://schemas.microsoft.com/office/drawing/2014/main" id="{951096FD-1D28-4525-A0BE-386E83D0C537}"/>
                </a:ext>
              </a:extLst>
            </p:cNvPr>
            <p:cNvSpPr/>
            <p:nvPr userDrawn="1"/>
          </p:nvSpPr>
          <p:spPr bwMode="auto">
            <a:xfrm>
              <a:off x="5260975" y="2479675"/>
              <a:ext cx="711200" cy="65088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7" name="îṡľiďé">
              <a:extLst>
                <a:ext uri="{FF2B5EF4-FFF2-40B4-BE49-F238E27FC236}">
                  <a16:creationId xmlns:a16="http://schemas.microsoft.com/office/drawing/2014/main" id="{170BF2D8-5469-447F-AFAD-C77832D6C9D9}"/>
                </a:ext>
              </a:extLst>
            </p:cNvPr>
            <p:cNvSpPr/>
            <p:nvPr userDrawn="1"/>
          </p:nvSpPr>
          <p:spPr bwMode="auto">
            <a:xfrm>
              <a:off x="5481638" y="2220913"/>
              <a:ext cx="225425" cy="66675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8" name="ís1iḋê">
              <a:extLst>
                <a:ext uri="{FF2B5EF4-FFF2-40B4-BE49-F238E27FC236}">
                  <a16:creationId xmlns:a16="http://schemas.microsoft.com/office/drawing/2014/main" id="{EA9A0FDE-4252-4FEC-9150-2157D1EEEDE9}"/>
                </a:ext>
              </a:extLst>
            </p:cNvPr>
            <p:cNvSpPr/>
            <p:nvPr userDrawn="1"/>
          </p:nvSpPr>
          <p:spPr bwMode="auto">
            <a:xfrm>
              <a:off x="4625975" y="1865313"/>
              <a:ext cx="2946400" cy="1879600"/>
            </a:xfrm>
            <a:custGeom>
              <a:avLst/>
              <a:gdLst>
                <a:gd name="T0" fmla="*/ 745 w 799"/>
                <a:gd name="T1" fmla="*/ 511 h 511"/>
                <a:gd name="T2" fmla="*/ 54 w 799"/>
                <a:gd name="T3" fmla="*/ 511 h 511"/>
                <a:gd name="T4" fmla="*/ 0 w 799"/>
                <a:gd name="T5" fmla="*/ 458 h 511"/>
                <a:gd name="T6" fmla="*/ 0 w 799"/>
                <a:gd name="T7" fmla="*/ 54 h 511"/>
                <a:gd name="T8" fmla="*/ 54 w 799"/>
                <a:gd name="T9" fmla="*/ 0 h 511"/>
                <a:gd name="T10" fmla="*/ 745 w 799"/>
                <a:gd name="T11" fmla="*/ 0 h 511"/>
                <a:gd name="T12" fmla="*/ 799 w 799"/>
                <a:gd name="T13" fmla="*/ 54 h 511"/>
                <a:gd name="T14" fmla="*/ 799 w 799"/>
                <a:gd name="T15" fmla="*/ 458 h 511"/>
                <a:gd name="T16" fmla="*/ 745 w 799"/>
                <a:gd name="T17" fmla="*/ 511 h 511"/>
                <a:gd name="T18" fmla="*/ 54 w 799"/>
                <a:gd name="T19" fmla="*/ 32 h 511"/>
                <a:gd name="T20" fmla="*/ 33 w 799"/>
                <a:gd name="T21" fmla="*/ 54 h 511"/>
                <a:gd name="T22" fmla="*/ 33 w 799"/>
                <a:gd name="T23" fmla="*/ 386 h 511"/>
                <a:gd name="T24" fmla="*/ 54 w 799"/>
                <a:gd name="T25" fmla="*/ 408 h 511"/>
                <a:gd name="T26" fmla="*/ 745 w 799"/>
                <a:gd name="T27" fmla="*/ 408 h 511"/>
                <a:gd name="T28" fmla="*/ 767 w 799"/>
                <a:gd name="T29" fmla="*/ 386 h 511"/>
                <a:gd name="T30" fmla="*/ 767 w 799"/>
                <a:gd name="T31" fmla="*/ 54 h 511"/>
                <a:gd name="T32" fmla="*/ 745 w 799"/>
                <a:gd name="T33" fmla="*/ 32 h 511"/>
                <a:gd name="T34" fmla="*/ 54 w 799"/>
                <a:gd name="T35" fmla="*/ 32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99" h="511">
                  <a:moveTo>
                    <a:pt x="745" y="511"/>
                  </a:moveTo>
                  <a:cubicBezTo>
                    <a:pt x="54" y="511"/>
                    <a:pt x="54" y="511"/>
                    <a:pt x="54" y="511"/>
                  </a:cubicBezTo>
                  <a:cubicBezTo>
                    <a:pt x="25" y="511"/>
                    <a:pt x="0" y="487"/>
                    <a:pt x="0" y="4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24"/>
                    <a:pt x="25" y="0"/>
                    <a:pt x="54" y="0"/>
                  </a:cubicBezTo>
                  <a:cubicBezTo>
                    <a:pt x="745" y="0"/>
                    <a:pt x="745" y="0"/>
                    <a:pt x="745" y="0"/>
                  </a:cubicBezTo>
                  <a:cubicBezTo>
                    <a:pt x="775" y="0"/>
                    <a:pt x="799" y="24"/>
                    <a:pt x="799" y="54"/>
                  </a:cubicBezTo>
                  <a:cubicBezTo>
                    <a:pt x="799" y="458"/>
                    <a:pt x="799" y="458"/>
                    <a:pt x="799" y="458"/>
                  </a:cubicBezTo>
                  <a:cubicBezTo>
                    <a:pt x="799" y="487"/>
                    <a:pt x="775" y="511"/>
                    <a:pt x="745" y="511"/>
                  </a:cubicBezTo>
                  <a:moveTo>
                    <a:pt x="54" y="32"/>
                  </a:moveTo>
                  <a:cubicBezTo>
                    <a:pt x="42" y="32"/>
                    <a:pt x="33" y="42"/>
                    <a:pt x="33" y="54"/>
                  </a:cubicBezTo>
                  <a:cubicBezTo>
                    <a:pt x="33" y="386"/>
                    <a:pt x="33" y="386"/>
                    <a:pt x="33" y="386"/>
                  </a:cubicBezTo>
                  <a:cubicBezTo>
                    <a:pt x="33" y="398"/>
                    <a:pt x="42" y="408"/>
                    <a:pt x="54" y="408"/>
                  </a:cubicBezTo>
                  <a:cubicBezTo>
                    <a:pt x="745" y="408"/>
                    <a:pt x="745" y="408"/>
                    <a:pt x="745" y="408"/>
                  </a:cubicBezTo>
                  <a:cubicBezTo>
                    <a:pt x="757" y="408"/>
                    <a:pt x="767" y="398"/>
                    <a:pt x="767" y="386"/>
                  </a:cubicBezTo>
                  <a:cubicBezTo>
                    <a:pt x="767" y="54"/>
                    <a:pt x="767" y="54"/>
                    <a:pt x="767" y="54"/>
                  </a:cubicBezTo>
                  <a:cubicBezTo>
                    <a:pt x="767" y="42"/>
                    <a:pt x="757" y="32"/>
                    <a:pt x="745" y="32"/>
                  </a:cubicBezTo>
                  <a:cubicBezTo>
                    <a:pt x="54" y="32"/>
                    <a:pt x="54" y="32"/>
                    <a:pt x="54" y="32"/>
                  </a:cubicBezTo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9" name="ïš1idè">
              <a:extLst>
                <a:ext uri="{FF2B5EF4-FFF2-40B4-BE49-F238E27FC236}">
                  <a16:creationId xmlns:a16="http://schemas.microsoft.com/office/drawing/2014/main" id="{218FF8F3-475B-49BC-BBE5-70957A769500}"/>
                </a:ext>
              </a:extLst>
            </p:cNvPr>
            <p:cNvSpPr/>
            <p:nvPr userDrawn="1"/>
          </p:nvSpPr>
          <p:spPr bwMode="auto">
            <a:xfrm>
              <a:off x="6919913" y="3152775"/>
              <a:ext cx="409575" cy="212725"/>
            </a:xfrm>
            <a:custGeom>
              <a:avLst/>
              <a:gdLst>
                <a:gd name="T0" fmla="*/ 2 w 111"/>
                <a:gd name="T1" fmla="*/ 37 h 58"/>
                <a:gd name="T2" fmla="*/ 2 w 111"/>
                <a:gd name="T3" fmla="*/ 41 h 58"/>
                <a:gd name="T4" fmla="*/ 0 w 111"/>
                <a:gd name="T5" fmla="*/ 58 h 58"/>
                <a:gd name="T6" fmla="*/ 24 w 111"/>
                <a:gd name="T7" fmla="*/ 58 h 58"/>
                <a:gd name="T8" fmla="*/ 2 w 111"/>
                <a:gd name="T9" fmla="*/ 37 h 58"/>
                <a:gd name="T10" fmla="*/ 69 w 111"/>
                <a:gd name="T11" fmla="*/ 0 h 58"/>
                <a:gd name="T12" fmla="*/ 41 w 111"/>
                <a:gd name="T13" fmla="*/ 0 h 58"/>
                <a:gd name="T14" fmla="*/ 39 w 111"/>
                <a:gd name="T15" fmla="*/ 1 h 58"/>
                <a:gd name="T16" fmla="*/ 36 w 111"/>
                <a:gd name="T17" fmla="*/ 2 h 58"/>
                <a:gd name="T18" fmla="*/ 77 w 111"/>
                <a:gd name="T19" fmla="*/ 40 h 58"/>
                <a:gd name="T20" fmla="*/ 73 w 111"/>
                <a:gd name="T21" fmla="*/ 58 h 58"/>
                <a:gd name="T22" fmla="*/ 110 w 111"/>
                <a:gd name="T23" fmla="*/ 58 h 58"/>
                <a:gd name="T24" fmla="*/ 92 w 111"/>
                <a:gd name="T25" fmla="*/ 13 h 58"/>
                <a:gd name="T26" fmla="*/ 92 w 111"/>
                <a:gd name="T27" fmla="*/ 13 h 58"/>
                <a:gd name="T28" fmla="*/ 69 w 111"/>
                <a:gd name="T29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1" h="58">
                  <a:moveTo>
                    <a:pt x="2" y="37"/>
                  </a:moveTo>
                  <a:cubicBezTo>
                    <a:pt x="2" y="41"/>
                    <a:pt x="2" y="41"/>
                    <a:pt x="2" y="41"/>
                  </a:cubicBezTo>
                  <a:cubicBezTo>
                    <a:pt x="0" y="46"/>
                    <a:pt x="0" y="52"/>
                    <a:pt x="0" y="58"/>
                  </a:cubicBezTo>
                  <a:cubicBezTo>
                    <a:pt x="24" y="58"/>
                    <a:pt x="24" y="58"/>
                    <a:pt x="24" y="58"/>
                  </a:cubicBezTo>
                  <a:cubicBezTo>
                    <a:pt x="2" y="37"/>
                    <a:pt x="2" y="37"/>
                    <a:pt x="2" y="37"/>
                  </a:cubicBezTo>
                  <a:moveTo>
                    <a:pt x="69" y="0"/>
                  </a:move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39" y="0"/>
                    <a:pt x="39" y="1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77" y="40"/>
                    <a:pt x="77" y="40"/>
                    <a:pt x="77" y="40"/>
                  </a:cubicBezTo>
                  <a:cubicBezTo>
                    <a:pt x="73" y="58"/>
                    <a:pt x="73" y="58"/>
                    <a:pt x="73" y="58"/>
                  </a:cubicBezTo>
                  <a:cubicBezTo>
                    <a:pt x="110" y="58"/>
                    <a:pt x="110" y="58"/>
                    <a:pt x="110" y="58"/>
                  </a:cubicBezTo>
                  <a:cubicBezTo>
                    <a:pt x="111" y="41"/>
                    <a:pt x="105" y="24"/>
                    <a:pt x="92" y="13"/>
                  </a:cubicBezTo>
                  <a:cubicBezTo>
                    <a:pt x="92" y="13"/>
                    <a:pt x="92" y="13"/>
                    <a:pt x="92" y="13"/>
                  </a:cubicBezTo>
                  <a:cubicBezTo>
                    <a:pt x="86" y="7"/>
                    <a:pt x="78" y="2"/>
                    <a:pt x="69" y="0"/>
                  </a:cubicBezTo>
                </a:path>
              </a:pathLst>
            </a:custGeom>
            <a:solidFill>
              <a:srgbClr val="1327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0" name="iSľíḑé">
              <a:extLst>
                <a:ext uri="{FF2B5EF4-FFF2-40B4-BE49-F238E27FC236}">
                  <a16:creationId xmlns:a16="http://schemas.microsoft.com/office/drawing/2014/main" id="{6DBF8FCE-4C76-4049-971D-EADCFACCF652}"/>
                </a:ext>
              </a:extLst>
            </p:cNvPr>
            <p:cNvSpPr/>
            <p:nvPr userDrawn="1"/>
          </p:nvSpPr>
          <p:spPr bwMode="auto">
            <a:xfrm>
              <a:off x="7070725" y="3144838"/>
              <a:ext cx="103188" cy="7938"/>
            </a:xfrm>
            <a:custGeom>
              <a:avLst/>
              <a:gdLst>
                <a:gd name="T0" fmla="*/ 14 w 28"/>
                <a:gd name="T1" fmla="*/ 0 h 2"/>
                <a:gd name="T2" fmla="*/ 0 w 28"/>
                <a:gd name="T3" fmla="*/ 2 h 2"/>
                <a:gd name="T4" fmla="*/ 28 w 28"/>
                <a:gd name="T5" fmla="*/ 2 h 2"/>
                <a:gd name="T6" fmla="*/ 14 w 28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2">
                  <a:moveTo>
                    <a:pt x="14" y="0"/>
                  </a:moveTo>
                  <a:cubicBezTo>
                    <a:pt x="9" y="0"/>
                    <a:pt x="4" y="1"/>
                    <a:pt x="0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4" y="1"/>
                    <a:pt x="19" y="0"/>
                    <a:pt x="14" y="0"/>
                  </a:cubicBezTo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1" name="îslîďè">
              <a:extLst>
                <a:ext uri="{FF2B5EF4-FFF2-40B4-BE49-F238E27FC236}">
                  <a16:creationId xmlns:a16="http://schemas.microsoft.com/office/drawing/2014/main" id="{B83FFC27-5F09-4196-80BF-7A724DEBA8DE}"/>
                </a:ext>
              </a:extLst>
            </p:cNvPr>
            <p:cNvSpPr/>
            <p:nvPr userDrawn="1"/>
          </p:nvSpPr>
          <p:spPr bwMode="auto">
            <a:xfrm>
              <a:off x="6919913" y="3365500"/>
              <a:ext cx="630238" cy="373063"/>
            </a:xfrm>
            <a:custGeom>
              <a:avLst/>
              <a:gdLst>
                <a:gd name="T0" fmla="*/ 110 w 171"/>
                <a:gd name="T1" fmla="*/ 0 h 101"/>
                <a:gd name="T2" fmla="*/ 73 w 171"/>
                <a:gd name="T3" fmla="*/ 0 h 101"/>
                <a:gd name="T4" fmla="*/ 70 w 171"/>
                <a:gd name="T5" fmla="*/ 9 h 101"/>
                <a:gd name="T6" fmla="*/ 44 w 171"/>
                <a:gd name="T7" fmla="*/ 18 h 101"/>
                <a:gd name="T8" fmla="*/ 24 w 171"/>
                <a:gd name="T9" fmla="*/ 0 h 101"/>
                <a:gd name="T10" fmla="*/ 0 w 171"/>
                <a:gd name="T11" fmla="*/ 0 h 101"/>
                <a:gd name="T12" fmla="*/ 18 w 171"/>
                <a:gd name="T13" fmla="*/ 35 h 101"/>
                <a:gd name="T14" fmla="*/ 55 w 171"/>
                <a:gd name="T15" fmla="*/ 50 h 101"/>
                <a:gd name="T16" fmla="*/ 71 w 171"/>
                <a:gd name="T17" fmla="*/ 47 h 101"/>
                <a:gd name="T18" fmla="*/ 78 w 171"/>
                <a:gd name="T19" fmla="*/ 45 h 101"/>
                <a:gd name="T20" fmla="*/ 138 w 171"/>
                <a:gd name="T21" fmla="*/ 101 h 101"/>
                <a:gd name="T22" fmla="*/ 171 w 171"/>
                <a:gd name="T23" fmla="*/ 74 h 101"/>
                <a:gd name="T24" fmla="*/ 107 w 171"/>
                <a:gd name="T25" fmla="*/ 14 h 101"/>
                <a:gd name="T26" fmla="*/ 108 w 171"/>
                <a:gd name="T27" fmla="*/ 7 h 101"/>
                <a:gd name="T28" fmla="*/ 110 w 171"/>
                <a:gd name="T2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1" h="101">
                  <a:moveTo>
                    <a:pt x="110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0" y="9"/>
                    <a:pt x="70" y="9"/>
                    <a:pt x="70" y="9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13"/>
                    <a:pt x="8" y="26"/>
                    <a:pt x="18" y="35"/>
                  </a:cubicBezTo>
                  <a:cubicBezTo>
                    <a:pt x="28" y="45"/>
                    <a:pt x="41" y="50"/>
                    <a:pt x="55" y="50"/>
                  </a:cubicBezTo>
                  <a:cubicBezTo>
                    <a:pt x="60" y="50"/>
                    <a:pt x="66" y="49"/>
                    <a:pt x="71" y="47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138" y="101"/>
                    <a:pt x="138" y="101"/>
                    <a:pt x="138" y="101"/>
                  </a:cubicBezTo>
                  <a:cubicBezTo>
                    <a:pt x="153" y="97"/>
                    <a:pt x="165" y="87"/>
                    <a:pt x="171" y="74"/>
                  </a:cubicBezTo>
                  <a:cubicBezTo>
                    <a:pt x="107" y="14"/>
                    <a:pt x="107" y="14"/>
                    <a:pt x="107" y="14"/>
                  </a:cubicBezTo>
                  <a:cubicBezTo>
                    <a:pt x="108" y="7"/>
                    <a:pt x="108" y="7"/>
                    <a:pt x="108" y="7"/>
                  </a:cubicBezTo>
                  <a:cubicBezTo>
                    <a:pt x="109" y="5"/>
                    <a:pt x="109" y="2"/>
                    <a:pt x="110" y="0"/>
                  </a:cubicBezTo>
                </a:path>
              </a:pathLst>
            </a:custGeom>
            <a:solidFill>
              <a:srgbClr val="6F6F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2" name="îSľiḑe">
              <a:extLst>
                <a:ext uri="{FF2B5EF4-FFF2-40B4-BE49-F238E27FC236}">
                  <a16:creationId xmlns:a16="http://schemas.microsoft.com/office/drawing/2014/main" id="{8107D903-1D25-48EF-8568-1D05CA595CBE}"/>
                </a:ext>
              </a:extLst>
            </p:cNvPr>
            <p:cNvSpPr/>
            <p:nvPr userDrawn="1"/>
          </p:nvSpPr>
          <p:spPr bwMode="auto">
            <a:xfrm>
              <a:off x="4748213" y="1952625"/>
              <a:ext cx="2706688" cy="111125"/>
            </a:xfrm>
            <a:custGeom>
              <a:avLst/>
              <a:gdLst>
                <a:gd name="T0" fmla="*/ 712 w 734"/>
                <a:gd name="T1" fmla="*/ 0 h 30"/>
                <a:gd name="T2" fmla="*/ 21 w 734"/>
                <a:gd name="T3" fmla="*/ 0 h 30"/>
                <a:gd name="T4" fmla="*/ 0 w 734"/>
                <a:gd name="T5" fmla="*/ 22 h 30"/>
                <a:gd name="T6" fmla="*/ 0 w 734"/>
                <a:gd name="T7" fmla="*/ 30 h 30"/>
                <a:gd name="T8" fmla="*/ 21 w 734"/>
                <a:gd name="T9" fmla="*/ 8 h 30"/>
                <a:gd name="T10" fmla="*/ 712 w 734"/>
                <a:gd name="T11" fmla="*/ 8 h 30"/>
                <a:gd name="T12" fmla="*/ 734 w 734"/>
                <a:gd name="T13" fmla="*/ 30 h 30"/>
                <a:gd name="T14" fmla="*/ 734 w 734"/>
                <a:gd name="T15" fmla="*/ 22 h 30"/>
                <a:gd name="T16" fmla="*/ 712 w 734"/>
                <a:gd name="T1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4" h="30">
                  <a:moveTo>
                    <a:pt x="712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9" y="0"/>
                    <a:pt x="0" y="10"/>
                    <a:pt x="0" y="22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8"/>
                    <a:pt x="9" y="8"/>
                    <a:pt x="21" y="8"/>
                  </a:cubicBezTo>
                  <a:cubicBezTo>
                    <a:pt x="712" y="8"/>
                    <a:pt x="712" y="8"/>
                    <a:pt x="712" y="8"/>
                  </a:cubicBezTo>
                  <a:cubicBezTo>
                    <a:pt x="724" y="8"/>
                    <a:pt x="734" y="18"/>
                    <a:pt x="734" y="30"/>
                  </a:cubicBezTo>
                  <a:cubicBezTo>
                    <a:pt x="734" y="22"/>
                    <a:pt x="734" y="22"/>
                    <a:pt x="734" y="22"/>
                  </a:cubicBezTo>
                  <a:cubicBezTo>
                    <a:pt x="734" y="10"/>
                    <a:pt x="724" y="0"/>
                    <a:pt x="712" y="0"/>
                  </a:cubicBez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3" name="íSļíḓè">
              <a:extLst>
                <a:ext uri="{FF2B5EF4-FFF2-40B4-BE49-F238E27FC236}">
                  <a16:creationId xmlns:a16="http://schemas.microsoft.com/office/drawing/2014/main" id="{07D4F4CD-7559-4DD8-9AA1-FC0E49095616}"/>
                </a:ext>
              </a:extLst>
            </p:cNvPr>
            <p:cNvSpPr/>
            <p:nvPr userDrawn="1"/>
          </p:nvSpPr>
          <p:spPr bwMode="auto">
            <a:xfrm>
              <a:off x="4625975" y="3521075"/>
              <a:ext cx="2946400" cy="223838"/>
            </a:xfrm>
            <a:custGeom>
              <a:avLst/>
              <a:gdLst>
                <a:gd name="T0" fmla="*/ 745 w 799"/>
                <a:gd name="T1" fmla="*/ 54 h 61"/>
                <a:gd name="T2" fmla="*/ 54 w 799"/>
                <a:gd name="T3" fmla="*/ 54 h 61"/>
                <a:gd name="T4" fmla="*/ 0 w 799"/>
                <a:gd name="T5" fmla="*/ 0 h 61"/>
                <a:gd name="T6" fmla="*/ 0 w 799"/>
                <a:gd name="T7" fmla="*/ 8 h 61"/>
                <a:gd name="T8" fmla="*/ 54 w 799"/>
                <a:gd name="T9" fmla="*/ 61 h 61"/>
                <a:gd name="T10" fmla="*/ 745 w 799"/>
                <a:gd name="T11" fmla="*/ 61 h 61"/>
                <a:gd name="T12" fmla="*/ 799 w 799"/>
                <a:gd name="T13" fmla="*/ 8 h 61"/>
                <a:gd name="T14" fmla="*/ 799 w 799"/>
                <a:gd name="T15" fmla="*/ 0 h 61"/>
                <a:gd name="T16" fmla="*/ 745 w 799"/>
                <a:gd name="T17" fmla="*/ 54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9" h="61">
                  <a:moveTo>
                    <a:pt x="745" y="54"/>
                  </a:moveTo>
                  <a:cubicBezTo>
                    <a:pt x="54" y="54"/>
                    <a:pt x="54" y="54"/>
                    <a:pt x="54" y="54"/>
                  </a:cubicBezTo>
                  <a:cubicBezTo>
                    <a:pt x="25" y="54"/>
                    <a:pt x="0" y="29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7"/>
                    <a:pt x="25" y="61"/>
                    <a:pt x="54" y="61"/>
                  </a:cubicBezTo>
                  <a:cubicBezTo>
                    <a:pt x="745" y="61"/>
                    <a:pt x="745" y="61"/>
                    <a:pt x="745" y="61"/>
                  </a:cubicBezTo>
                  <a:cubicBezTo>
                    <a:pt x="775" y="61"/>
                    <a:pt x="799" y="37"/>
                    <a:pt x="799" y="8"/>
                  </a:cubicBezTo>
                  <a:cubicBezTo>
                    <a:pt x="799" y="0"/>
                    <a:pt x="799" y="0"/>
                    <a:pt x="799" y="0"/>
                  </a:cubicBezTo>
                  <a:cubicBezTo>
                    <a:pt x="799" y="29"/>
                    <a:pt x="775" y="54"/>
                    <a:pt x="745" y="54"/>
                  </a:cubicBez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4" name="ïṧḻídé">
              <a:extLst>
                <a:ext uri="{FF2B5EF4-FFF2-40B4-BE49-F238E27FC236}">
                  <a16:creationId xmlns:a16="http://schemas.microsoft.com/office/drawing/2014/main" id="{6B3E522A-87EC-47CB-B706-8551808E4479}"/>
                </a:ext>
              </a:extLst>
            </p:cNvPr>
            <p:cNvSpPr/>
            <p:nvPr userDrawn="1"/>
          </p:nvSpPr>
          <p:spPr bwMode="auto">
            <a:xfrm>
              <a:off x="7265988" y="2019300"/>
              <a:ext cx="60325" cy="58738"/>
            </a:xfrm>
            <a:prstGeom prst="ellipse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5" name="iṧlïḋê">
              <a:extLst>
                <a:ext uri="{FF2B5EF4-FFF2-40B4-BE49-F238E27FC236}">
                  <a16:creationId xmlns:a16="http://schemas.microsoft.com/office/drawing/2014/main" id="{FD7F2B50-0576-4B48-BD67-409BDF61A3B4}"/>
                </a:ext>
              </a:extLst>
            </p:cNvPr>
            <p:cNvSpPr/>
            <p:nvPr userDrawn="1"/>
          </p:nvSpPr>
          <p:spPr bwMode="auto">
            <a:xfrm>
              <a:off x="7162800" y="2019300"/>
              <a:ext cx="60325" cy="58738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6" name="ïSḷîḍê">
              <a:extLst>
                <a:ext uri="{FF2B5EF4-FFF2-40B4-BE49-F238E27FC236}">
                  <a16:creationId xmlns:a16="http://schemas.microsoft.com/office/drawing/2014/main" id="{0A250E1E-80BB-4887-BF8C-BCF42B27425D}"/>
                </a:ext>
              </a:extLst>
            </p:cNvPr>
            <p:cNvSpPr/>
            <p:nvPr userDrawn="1"/>
          </p:nvSpPr>
          <p:spPr bwMode="auto">
            <a:xfrm>
              <a:off x="7059613" y="2019300"/>
              <a:ext cx="60325" cy="58738"/>
            </a:xfrm>
            <a:prstGeom prst="ellipse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7" name="íşlîḍe">
              <a:extLst>
                <a:ext uri="{FF2B5EF4-FFF2-40B4-BE49-F238E27FC236}">
                  <a16:creationId xmlns:a16="http://schemas.microsoft.com/office/drawing/2014/main" id="{BF9DF52F-9D83-4851-96C1-B1756C6635CA}"/>
                </a:ext>
              </a:extLst>
            </p:cNvPr>
            <p:cNvSpPr/>
            <p:nvPr userDrawn="1"/>
          </p:nvSpPr>
          <p:spPr bwMode="auto">
            <a:xfrm>
              <a:off x="4438650" y="2619375"/>
              <a:ext cx="741363" cy="1538288"/>
            </a:xfrm>
            <a:custGeom>
              <a:avLst/>
              <a:gdLst>
                <a:gd name="T0" fmla="*/ 65 w 467"/>
                <a:gd name="T1" fmla="*/ 969 h 969"/>
                <a:gd name="T2" fmla="*/ 467 w 467"/>
                <a:gd name="T3" fmla="*/ 23 h 969"/>
                <a:gd name="T4" fmla="*/ 413 w 467"/>
                <a:gd name="T5" fmla="*/ 0 h 969"/>
                <a:gd name="T6" fmla="*/ 0 w 467"/>
                <a:gd name="T7" fmla="*/ 969 h 969"/>
                <a:gd name="T8" fmla="*/ 65 w 467"/>
                <a:gd name="T9" fmla="*/ 969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7" h="969">
                  <a:moveTo>
                    <a:pt x="65" y="969"/>
                  </a:moveTo>
                  <a:lnTo>
                    <a:pt x="467" y="23"/>
                  </a:lnTo>
                  <a:lnTo>
                    <a:pt x="413" y="0"/>
                  </a:lnTo>
                  <a:lnTo>
                    <a:pt x="0" y="969"/>
                  </a:lnTo>
                  <a:lnTo>
                    <a:pt x="65" y="969"/>
                  </a:lnTo>
                  <a:close/>
                </a:path>
              </a:pathLst>
            </a:cu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8" name="îṧliḓe">
              <a:extLst>
                <a:ext uri="{FF2B5EF4-FFF2-40B4-BE49-F238E27FC236}">
                  <a16:creationId xmlns:a16="http://schemas.microsoft.com/office/drawing/2014/main" id="{9DE8548E-3E05-4B67-927D-31DC785333E5}"/>
                </a:ext>
              </a:extLst>
            </p:cNvPr>
            <p:cNvSpPr/>
            <p:nvPr userDrawn="1"/>
          </p:nvSpPr>
          <p:spPr bwMode="auto">
            <a:xfrm>
              <a:off x="4545013" y="2887663"/>
              <a:ext cx="457200" cy="95250"/>
            </a:xfrm>
            <a:custGeom>
              <a:avLst/>
              <a:gdLst>
                <a:gd name="T0" fmla="*/ 0 w 124"/>
                <a:gd name="T1" fmla="*/ 13 h 26"/>
                <a:gd name="T2" fmla="*/ 0 w 124"/>
                <a:gd name="T3" fmla="*/ 13 h 26"/>
                <a:gd name="T4" fmla="*/ 13 w 124"/>
                <a:gd name="T5" fmla="*/ 0 h 26"/>
                <a:gd name="T6" fmla="*/ 124 w 124"/>
                <a:gd name="T7" fmla="*/ 0 h 26"/>
                <a:gd name="T8" fmla="*/ 124 w 124"/>
                <a:gd name="T9" fmla="*/ 26 h 26"/>
                <a:gd name="T10" fmla="*/ 13 w 124"/>
                <a:gd name="T11" fmla="*/ 26 h 26"/>
                <a:gd name="T12" fmla="*/ 0 w 124"/>
                <a:gd name="T13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26">
                  <a:moveTo>
                    <a:pt x="0" y="13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26"/>
                    <a:pt x="124" y="26"/>
                    <a:pt x="12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6" y="26"/>
                    <a:pt x="0" y="20"/>
                    <a:pt x="0" y="13"/>
                  </a:cubicBezTo>
                  <a:close/>
                </a:path>
              </a:pathLst>
            </a:cu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9" name="ïšľïḍê">
              <a:extLst>
                <a:ext uri="{FF2B5EF4-FFF2-40B4-BE49-F238E27FC236}">
                  <a16:creationId xmlns:a16="http://schemas.microsoft.com/office/drawing/2014/main" id="{9DDB46BA-311A-4A6B-957B-4EC8F71B0C47}"/>
                </a:ext>
              </a:extLst>
            </p:cNvPr>
            <p:cNvSpPr/>
            <p:nvPr userDrawn="1"/>
          </p:nvSpPr>
          <p:spPr bwMode="auto">
            <a:xfrm>
              <a:off x="4419600" y="3225800"/>
              <a:ext cx="454025" cy="96838"/>
            </a:xfrm>
            <a:prstGeom prst="rect">
              <a:avLst/>
            </a:pr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0" name="ïṡ1îḍe">
              <a:extLst>
                <a:ext uri="{FF2B5EF4-FFF2-40B4-BE49-F238E27FC236}">
                  <a16:creationId xmlns:a16="http://schemas.microsoft.com/office/drawing/2014/main" id="{2B840719-EFA3-4C12-8F06-BF63030F9294}"/>
                </a:ext>
              </a:extLst>
            </p:cNvPr>
            <p:cNvSpPr/>
            <p:nvPr userDrawn="1"/>
          </p:nvSpPr>
          <p:spPr bwMode="auto">
            <a:xfrm>
              <a:off x="4271963" y="3565525"/>
              <a:ext cx="465138" cy="95250"/>
            </a:xfrm>
            <a:prstGeom prst="rect">
              <a:avLst/>
            </a:pr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1" name="iṧḷídè">
              <a:extLst>
                <a:ext uri="{FF2B5EF4-FFF2-40B4-BE49-F238E27FC236}">
                  <a16:creationId xmlns:a16="http://schemas.microsoft.com/office/drawing/2014/main" id="{B11A465F-18FD-41B1-BBE5-D466DE4FBADA}"/>
                </a:ext>
              </a:extLst>
            </p:cNvPr>
            <p:cNvSpPr/>
            <p:nvPr userDrawn="1"/>
          </p:nvSpPr>
          <p:spPr bwMode="auto">
            <a:xfrm>
              <a:off x="4137025" y="3903663"/>
              <a:ext cx="449263" cy="95250"/>
            </a:xfrm>
            <a:prstGeom prst="rect">
              <a:avLst/>
            </a:pr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2" name="íṥļïďê">
              <a:extLst>
                <a:ext uri="{FF2B5EF4-FFF2-40B4-BE49-F238E27FC236}">
                  <a16:creationId xmlns:a16="http://schemas.microsoft.com/office/drawing/2014/main" id="{A5D40688-4178-488D-A401-C63E9F9901D1}"/>
                </a:ext>
              </a:extLst>
            </p:cNvPr>
            <p:cNvSpPr/>
            <p:nvPr userDrawn="1"/>
          </p:nvSpPr>
          <p:spPr bwMode="auto">
            <a:xfrm>
              <a:off x="6978650" y="2998788"/>
              <a:ext cx="919163" cy="1169988"/>
            </a:xfrm>
            <a:custGeom>
              <a:avLst/>
              <a:gdLst>
                <a:gd name="T0" fmla="*/ 242 w 249"/>
                <a:gd name="T1" fmla="*/ 282 h 318"/>
                <a:gd name="T2" fmla="*/ 104 w 249"/>
                <a:gd name="T3" fmla="*/ 86 h 318"/>
                <a:gd name="T4" fmla="*/ 107 w 249"/>
                <a:gd name="T5" fmla="*/ 79 h 318"/>
                <a:gd name="T6" fmla="*/ 102 w 249"/>
                <a:gd name="T7" fmla="*/ 25 h 318"/>
                <a:gd name="T8" fmla="*/ 53 w 249"/>
                <a:gd name="T9" fmla="*/ 2 h 318"/>
                <a:gd name="T10" fmla="*/ 49 w 249"/>
                <a:gd name="T11" fmla="*/ 2 h 318"/>
                <a:gd name="T12" fmla="*/ 81 w 249"/>
                <a:gd name="T13" fmla="*/ 48 h 318"/>
                <a:gd name="T14" fmla="*/ 70 w 249"/>
                <a:gd name="T15" fmla="*/ 73 h 318"/>
                <a:gd name="T16" fmla="*/ 42 w 249"/>
                <a:gd name="T17" fmla="*/ 76 h 318"/>
                <a:gd name="T18" fmla="*/ 9 w 249"/>
                <a:gd name="T19" fmla="*/ 30 h 318"/>
                <a:gd name="T20" fmla="*/ 8 w 249"/>
                <a:gd name="T21" fmla="*/ 33 h 318"/>
                <a:gd name="T22" fmla="*/ 13 w 249"/>
                <a:gd name="T23" fmla="*/ 88 h 318"/>
                <a:gd name="T24" fmla="*/ 62 w 249"/>
                <a:gd name="T25" fmla="*/ 111 h 318"/>
                <a:gd name="T26" fmla="*/ 69 w 249"/>
                <a:gd name="T27" fmla="*/ 110 h 318"/>
                <a:gd name="T28" fmla="*/ 208 w 249"/>
                <a:gd name="T29" fmla="*/ 306 h 318"/>
                <a:gd name="T30" fmla="*/ 237 w 249"/>
                <a:gd name="T31" fmla="*/ 311 h 318"/>
                <a:gd name="T32" fmla="*/ 242 w 249"/>
                <a:gd name="T33" fmla="*/ 282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9" h="318">
                  <a:moveTo>
                    <a:pt x="242" y="282"/>
                  </a:moveTo>
                  <a:cubicBezTo>
                    <a:pt x="104" y="86"/>
                    <a:pt x="104" y="86"/>
                    <a:pt x="104" y="86"/>
                  </a:cubicBezTo>
                  <a:cubicBezTo>
                    <a:pt x="107" y="79"/>
                    <a:pt x="107" y="79"/>
                    <a:pt x="107" y="79"/>
                  </a:cubicBezTo>
                  <a:cubicBezTo>
                    <a:pt x="115" y="61"/>
                    <a:pt x="113" y="41"/>
                    <a:pt x="102" y="25"/>
                  </a:cubicBezTo>
                  <a:cubicBezTo>
                    <a:pt x="91" y="9"/>
                    <a:pt x="72" y="0"/>
                    <a:pt x="53" y="2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81" y="48"/>
                    <a:pt x="81" y="48"/>
                    <a:pt x="81" y="48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42" y="76"/>
                    <a:pt x="42" y="76"/>
                    <a:pt x="42" y="76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0" y="51"/>
                    <a:pt x="1" y="72"/>
                    <a:pt x="13" y="88"/>
                  </a:cubicBezTo>
                  <a:cubicBezTo>
                    <a:pt x="24" y="104"/>
                    <a:pt x="43" y="113"/>
                    <a:pt x="62" y="111"/>
                  </a:cubicBezTo>
                  <a:cubicBezTo>
                    <a:pt x="69" y="110"/>
                    <a:pt x="69" y="110"/>
                    <a:pt x="69" y="110"/>
                  </a:cubicBezTo>
                  <a:cubicBezTo>
                    <a:pt x="208" y="306"/>
                    <a:pt x="208" y="306"/>
                    <a:pt x="208" y="306"/>
                  </a:cubicBezTo>
                  <a:cubicBezTo>
                    <a:pt x="214" y="316"/>
                    <a:pt x="228" y="318"/>
                    <a:pt x="237" y="311"/>
                  </a:cubicBezTo>
                  <a:cubicBezTo>
                    <a:pt x="247" y="305"/>
                    <a:pt x="249" y="291"/>
                    <a:pt x="242" y="282"/>
                  </a:cubicBezTo>
                  <a:close/>
                </a:path>
              </a:pathLst>
            </a:custGeom>
            <a:solidFill>
              <a:srgbClr val="ADAD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3" name="iṡlîḑe">
              <a:extLst>
                <a:ext uri="{FF2B5EF4-FFF2-40B4-BE49-F238E27FC236}">
                  <a16:creationId xmlns:a16="http://schemas.microsoft.com/office/drawing/2014/main" id="{2CF9FD8F-7AB9-4413-BA6D-0AEC3AAA703B}"/>
                </a:ext>
              </a:extLst>
            </p:cNvPr>
            <p:cNvSpPr/>
            <p:nvPr userDrawn="1"/>
          </p:nvSpPr>
          <p:spPr bwMode="auto">
            <a:xfrm>
              <a:off x="7304088" y="3384550"/>
              <a:ext cx="515938" cy="692150"/>
            </a:xfrm>
            <a:custGeom>
              <a:avLst/>
              <a:gdLst>
                <a:gd name="T0" fmla="*/ 134 w 140"/>
                <a:gd name="T1" fmla="*/ 184 h 188"/>
                <a:gd name="T2" fmla="*/ 134 w 140"/>
                <a:gd name="T3" fmla="*/ 184 h 188"/>
                <a:gd name="T4" fmla="*/ 119 w 140"/>
                <a:gd name="T5" fmla="*/ 182 h 188"/>
                <a:gd name="T6" fmla="*/ 3 w 140"/>
                <a:gd name="T7" fmla="*/ 18 h 188"/>
                <a:gd name="T8" fmla="*/ 6 w 140"/>
                <a:gd name="T9" fmla="*/ 3 h 188"/>
                <a:gd name="T10" fmla="*/ 20 w 140"/>
                <a:gd name="T11" fmla="*/ 5 h 188"/>
                <a:gd name="T12" fmla="*/ 136 w 140"/>
                <a:gd name="T13" fmla="*/ 170 h 188"/>
                <a:gd name="T14" fmla="*/ 134 w 140"/>
                <a:gd name="T15" fmla="*/ 184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0" h="188">
                  <a:moveTo>
                    <a:pt x="134" y="184"/>
                  </a:moveTo>
                  <a:cubicBezTo>
                    <a:pt x="134" y="184"/>
                    <a:pt x="134" y="184"/>
                    <a:pt x="134" y="184"/>
                  </a:cubicBezTo>
                  <a:cubicBezTo>
                    <a:pt x="129" y="188"/>
                    <a:pt x="122" y="187"/>
                    <a:pt x="119" y="182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0" y="13"/>
                    <a:pt x="1" y="6"/>
                    <a:pt x="6" y="3"/>
                  </a:cubicBezTo>
                  <a:cubicBezTo>
                    <a:pt x="11" y="0"/>
                    <a:pt x="17" y="1"/>
                    <a:pt x="20" y="5"/>
                  </a:cubicBezTo>
                  <a:cubicBezTo>
                    <a:pt x="136" y="170"/>
                    <a:pt x="136" y="170"/>
                    <a:pt x="136" y="170"/>
                  </a:cubicBezTo>
                  <a:cubicBezTo>
                    <a:pt x="140" y="175"/>
                    <a:pt x="138" y="181"/>
                    <a:pt x="134" y="184"/>
                  </a:cubicBezTo>
                  <a:close/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5" name="îşļïďê">
              <a:extLst>
                <a:ext uri="{FF2B5EF4-FFF2-40B4-BE49-F238E27FC236}">
                  <a16:creationId xmlns:a16="http://schemas.microsoft.com/office/drawing/2014/main" id="{0A260C92-F3B0-4023-85C8-AE243717C868}"/>
                </a:ext>
              </a:extLst>
            </p:cNvPr>
            <p:cNvSpPr/>
            <p:nvPr userDrawn="1"/>
          </p:nvSpPr>
          <p:spPr bwMode="auto">
            <a:xfrm>
              <a:off x="5035550" y="5718175"/>
              <a:ext cx="2116138" cy="165100"/>
            </a:xfrm>
            <a:custGeom>
              <a:avLst/>
              <a:gdLst>
                <a:gd name="T0" fmla="*/ 552 w 574"/>
                <a:gd name="T1" fmla="*/ 45 h 45"/>
                <a:gd name="T2" fmla="*/ 22 w 574"/>
                <a:gd name="T3" fmla="*/ 45 h 45"/>
                <a:gd name="T4" fmla="*/ 0 w 574"/>
                <a:gd name="T5" fmla="*/ 22 h 45"/>
                <a:gd name="T6" fmla="*/ 22 w 574"/>
                <a:gd name="T7" fmla="*/ 0 h 45"/>
                <a:gd name="T8" fmla="*/ 552 w 574"/>
                <a:gd name="T9" fmla="*/ 0 h 45"/>
                <a:gd name="T10" fmla="*/ 574 w 574"/>
                <a:gd name="T11" fmla="*/ 22 h 45"/>
                <a:gd name="T12" fmla="*/ 552 w 574"/>
                <a:gd name="T13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4" h="45">
                  <a:moveTo>
                    <a:pt x="552" y="45"/>
                  </a:moveTo>
                  <a:cubicBezTo>
                    <a:pt x="22" y="45"/>
                    <a:pt x="22" y="45"/>
                    <a:pt x="22" y="45"/>
                  </a:cubicBezTo>
                  <a:cubicBezTo>
                    <a:pt x="10" y="45"/>
                    <a:pt x="0" y="35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552" y="0"/>
                    <a:pt x="552" y="0"/>
                    <a:pt x="552" y="0"/>
                  </a:cubicBezTo>
                  <a:cubicBezTo>
                    <a:pt x="564" y="0"/>
                    <a:pt x="574" y="10"/>
                    <a:pt x="574" y="22"/>
                  </a:cubicBezTo>
                  <a:cubicBezTo>
                    <a:pt x="574" y="35"/>
                    <a:pt x="564" y="45"/>
                    <a:pt x="552" y="45"/>
                  </a:cubicBezTo>
                  <a:close/>
                </a:path>
              </a:pathLst>
            </a:custGeom>
            <a:solidFill>
              <a:srgbClr val="C5C4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6" name="îšļiḍé">
              <a:extLst>
                <a:ext uri="{FF2B5EF4-FFF2-40B4-BE49-F238E27FC236}">
                  <a16:creationId xmlns:a16="http://schemas.microsoft.com/office/drawing/2014/main" id="{8C93FE08-C1DB-4C63-A6F7-045825FBC507}"/>
                </a:ext>
              </a:extLst>
            </p:cNvPr>
            <p:cNvSpPr/>
            <p:nvPr userDrawn="1"/>
          </p:nvSpPr>
          <p:spPr bwMode="auto">
            <a:xfrm>
              <a:off x="6083300" y="4378325"/>
              <a:ext cx="755650" cy="1222375"/>
            </a:xfrm>
            <a:custGeom>
              <a:avLst/>
              <a:gdLst>
                <a:gd name="T0" fmla="*/ 0 w 205"/>
                <a:gd name="T1" fmla="*/ 0 h 332"/>
                <a:gd name="T2" fmla="*/ 126 w 205"/>
                <a:gd name="T3" fmla="*/ 0 h 332"/>
                <a:gd name="T4" fmla="*/ 133 w 205"/>
                <a:gd name="T5" fmla="*/ 1 h 332"/>
                <a:gd name="T6" fmla="*/ 195 w 205"/>
                <a:gd name="T7" fmla="*/ 90 h 332"/>
                <a:gd name="T8" fmla="*/ 143 w 205"/>
                <a:gd name="T9" fmla="*/ 332 h 332"/>
                <a:gd name="T10" fmla="*/ 68 w 205"/>
                <a:gd name="T11" fmla="*/ 332 h 332"/>
                <a:gd name="T12" fmla="*/ 104 w 205"/>
                <a:gd name="T13" fmla="*/ 102 h 332"/>
                <a:gd name="T14" fmla="*/ 0 w 205"/>
                <a:gd name="T15" fmla="*/ 102 h 332"/>
                <a:gd name="T16" fmla="*/ 0 w 205"/>
                <a:gd name="T17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5" h="332">
                  <a:moveTo>
                    <a:pt x="0" y="0"/>
                  </a:moveTo>
                  <a:cubicBezTo>
                    <a:pt x="126" y="0"/>
                    <a:pt x="126" y="0"/>
                    <a:pt x="126" y="0"/>
                  </a:cubicBezTo>
                  <a:cubicBezTo>
                    <a:pt x="128" y="0"/>
                    <a:pt x="131" y="0"/>
                    <a:pt x="133" y="1"/>
                  </a:cubicBezTo>
                  <a:cubicBezTo>
                    <a:pt x="176" y="5"/>
                    <a:pt x="205" y="48"/>
                    <a:pt x="195" y="90"/>
                  </a:cubicBezTo>
                  <a:cubicBezTo>
                    <a:pt x="143" y="332"/>
                    <a:pt x="143" y="332"/>
                    <a:pt x="143" y="332"/>
                  </a:cubicBezTo>
                  <a:cubicBezTo>
                    <a:pt x="68" y="332"/>
                    <a:pt x="68" y="332"/>
                    <a:pt x="68" y="332"/>
                  </a:cubicBezTo>
                  <a:cubicBezTo>
                    <a:pt x="104" y="102"/>
                    <a:pt x="104" y="102"/>
                    <a:pt x="104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8977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7" name="í$ḷïḑe">
              <a:extLst>
                <a:ext uri="{FF2B5EF4-FFF2-40B4-BE49-F238E27FC236}">
                  <a16:creationId xmlns:a16="http://schemas.microsoft.com/office/drawing/2014/main" id="{268228F1-6F0B-4E91-AE44-C2016832ECA0}"/>
                </a:ext>
              </a:extLst>
            </p:cNvPr>
            <p:cNvSpPr/>
            <p:nvPr userDrawn="1"/>
          </p:nvSpPr>
          <p:spPr bwMode="auto">
            <a:xfrm>
              <a:off x="6334125" y="5600700"/>
              <a:ext cx="474663" cy="184150"/>
            </a:xfrm>
            <a:custGeom>
              <a:avLst/>
              <a:gdLst>
                <a:gd name="T0" fmla="*/ 0 w 129"/>
                <a:gd name="T1" fmla="*/ 0 h 50"/>
                <a:gd name="T2" fmla="*/ 62 w 129"/>
                <a:gd name="T3" fmla="*/ 0 h 50"/>
                <a:gd name="T4" fmla="*/ 129 w 129"/>
                <a:gd name="T5" fmla="*/ 50 h 50"/>
                <a:gd name="T6" fmla="*/ 0 w 129"/>
                <a:gd name="T7" fmla="*/ 50 h 50"/>
                <a:gd name="T8" fmla="*/ 0 w 129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50">
                  <a:moveTo>
                    <a:pt x="0" y="0"/>
                  </a:moveTo>
                  <a:cubicBezTo>
                    <a:pt x="62" y="0"/>
                    <a:pt x="62" y="0"/>
                    <a:pt x="62" y="0"/>
                  </a:cubicBezTo>
                  <a:cubicBezTo>
                    <a:pt x="62" y="0"/>
                    <a:pt x="129" y="6"/>
                    <a:pt x="129" y="50"/>
                  </a:cubicBezTo>
                  <a:cubicBezTo>
                    <a:pt x="0" y="50"/>
                    <a:pt x="0" y="50"/>
                    <a:pt x="0" y="5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331D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8" name="ís1îḓe">
              <a:extLst>
                <a:ext uri="{FF2B5EF4-FFF2-40B4-BE49-F238E27FC236}">
                  <a16:creationId xmlns:a16="http://schemas.microsoft.com/office/drawing/2014/main" id="{1397C844-D6C2-4182-B960-D55C92040818}"/>
                </a:ext>
              </a:extLst>
            </p:cNvPr>
            <p:cNvSpPr/>
            <p:nvPr userDrawn="1"/>
          </p:nvSpPr>
          <p:spPr bwMode="auto">
            <a:xfrm>
              <a:off x="5353050" y="4378325"/>
              <a:ext cx="755650" cy="1222375"/>
            </a:xfrm>
            <a:custGeom>
              <a:avLst/>
              <a:gdLst>
                <a:gd name="T0" fmla="*/ 205 w 205"/>
                <a:gd name="T1" fmla="*/ 0 h 332"/>
                <a:gd name="T2" fmla="*/ 78 w 205"/>
                <a:gd name="T3" fmla="*/ 0 h 332"/>
                <a:gd name="T4" fmla="*/ 71 w 205"/>
                <a:gd name="T5" fmla="*/ 1 h 332"/>
                <a:gd name="T6" fmla="*/ 10 w 205"/>
                <a:gd name="T7" fmla="*/ 90 h 332"/>
                <a:gd name="T8" fmla="*/ 62 w 205"/>
                <a:gd name="T9" fmla="*/ 332 h 332"/>
                <a:gd name="T10" fmla="*/ 136 w 205"/>
                <a:gd name="T11" fmla="*/ 332 h 332"/>
                <a:gd name="T12" fmla="*/ 100 w 205"/>
                <a:gd name="T13" fmla="*/ 102 h 332"/>
                <a:gd name="T14" fmla="*/ 205 w 205"/>
                <a:gd name="T15" fmla="*/ 102 h 332"/>
                <a:gd name="T16" fmla="*/ 205 w 205"/>
                <a:gd name="T17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5" h="332">
                  <a:moveTo>
                    <a:pt x="205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76" y="0"/>
                    <a:pt x="74" y="0"/>
                    <a:pt x="71" y="1"/>
                  </a:cubicBezTo>
                  <a:cubicBezTo>
                    <a:pt x="28" y="5"/>
                    <a:pt x="0" y="48"/>
                    <a:pt x="10" y="90"/>
                  </a:cubicBezTo>
                  <a:cubicBezTo>
                    <a:pt x="62" y="332"/>
                    <a:pt x="62" y="332"/>
                    <a:pt x="62" y="332"/>
                  </a:cubicBezTo>
                  <a:cubicBezTo>
                    <a:pt x="136" y="332"/>
                    <a:pt x="136" y="332"/>
                    <a:pt x="136" y="332"/>
                  </a:cubicBezTo>
                  <a:cubicBezTo>
                    <a:pt x="100" y="102"/>
                    <a:pt x="100" y="102"/>
                    <a:pt x="100" y="102"/>
                  </a:cubicBezTo>
                  <a:cubicBezTo>
                    <a:pt x="205" y="102"/>
                    <a:pt x="205" y="102"/>
                    <a:pt x="205" y="102"/>
                  </a:cubicBezTo>
                  <a:cubicBezTo>
                    <a:pt x="205" y="0"/>
                    <a:pt x="205" y="0"/>
                    <a:pt x="205" y="0"/>
                  </a:cubicBezTo>
                </a:path>
              </a:pathLst>
            </a:custGeom>
            <a:solidFill>
              <a:srgbClr val="8977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9" name="îsḷïdè">
              <a:extLst>
                <a:ext uri="{FF2B5EF4-FFF2-40B4-BE49-F238E27FC236}">
                  <a16:creationId xmlns:a16="http://schemas.microsoft.com/office/drawing/2014/main" id="{C1840427-BBE8-46E9-9A0F-1A164B34FF92}"/>
                </a:ext>
              </a:extLst>
            </p:cNvPr>
            <p:cNvSpPr/>
            <p:nvPr userDrawn="1"/>
          </p:nvSpPr>
          <p:spPr bwMode="auto">
            <a:xfrm>
              <a:off x="6083300" y="4651375"/>
              <a:ext cx="611188" cy="949325"/>
            </a:xfrm>
            <a:custGeom>
              <a:avLst/>
              <a:gdLst>
                <a:gd name="T0" fmla="*/ 112 w 166"/>
                <a:gd name="T1" fmla="*/ 258 h 258"/>
                <a:gd name="T2" fmla="*/ 113 w 166"/>
                <a:gd name="T3" fmla="*/ 255 h 258"/>
                <a:gd name="T4" fmla="*/ 137 w 166"/>
                <a:gd name="T5" fmla="*/ 130 h 258"/>
                <a:gd name="T6" fmla="*/ 160 w 166"/>
                <a:gd name="T7" fmla="*/ 37 h 258"/>
                <a:gd name="T8" fmla="*/ 164 w 166"/>
                <a:gd name="T9" fmla="*/ 18 h 258"/>
                <a:gd name="T10" fmla="*/ 164 w 166"/>
                <a:gd name="T11" fmla="*/ 12 h 258"/>
                <a:gd name="T12" fmla="*/ 165 w 166"/>
                <a:gd name="T13" fmla="*/ 2 h 258"/>
                <a:gd name="T14" fmla="*/ 166 w 166"/>
                <a:gd name="T15" fmla="*/ 0 h 258"/>
                <a:gd name="T16" fmla="*/ 0 w 166"/>
                <a:gd name="T17" fmla="*/ 0 h 258"/>
                <a:gd name="T18" fmla="*/ 0 w 166"/>
                <a:gd name="T19" fmla="*/ 28 h 258"/>
                <a:gd name="T20" fmla="*/ 104 w 166"/>
                <a:gd name="T21" fmla="*/ 28 h 258"/>
                <a:gd name="T22" fmla="*/ 68 w 166"/>
                <a:gd name="T23" fmla="*/ 258 h 258"/>
                <a:gd name="T24" fmla="*/ 112 w 166"/>
                <a:gd name="T25" fmla="*/ 258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6" h="258">
                  <a:moveTo>
                    <a:pt x="112" y="258"/>
                  </a:moveTo>
                  <a:cubicBezTo>
                    <a:pt x="112" y="257"/>
                    <a:pt x="112" y="256"/>
                    <a:pt x="113" y="255"/>
                  </a:cubicBezTo>
                  <a:cubicBezTo>
                    <a:pt x="121" y="227"/>
                    <a:pt x="129" y="159"/>
                    <a:pt x="137" y="130"/>
                  </a:cubicBezTo>
                  <a:cubicBezTo>
                    <a:pt x="146" y="99"/>
                    <a:pt x="154" y="69"/>
                    <a:pt x="160" y="37"/>
                  </a:cubicBezTo>
                  <a:cubicBezTo>
                    <a:pt x="161" y="31"/>
                    <a:pt x="162" y="24"/>
                    <a:pt x="164" y="18"/>
                  </a:cubicBezTo>
                  <a:cubicBezTo>
                    <a:pt x="164" y="15"/>
                    <a:pt x="164" y="13"/>
                    <a:pt x="164" y="12"/>
                  </a:cubicBezTo>
                  <a:cubicBezTo>
                    <a:pt x="165" y="9"/>
                    <a:pt x="165" y="5"/>
                    <a:pt x="165" y="2"/>
                  </a:cubicBezTo>
                  <a:cubicBezTo>
                    <a:pt x="166" y="1"/>
                    <a:pt x="166" y="1"/>
                    <a:pt x="16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104" y="28"/>
                    <a:pt x="104" y="28"/>
                    <a:pt x="104" y="28"/>
                  </a:cubicBezTo>
                  <a:cubicBezTo>
                    <a:pt x="68" y="258"/>
                    <a:pt x="68" y="258"/>
                    <a:pt x="68" y="258"/>
                  </a:cubicBezTo>
                  <a:cubicBezTo>
                    <a:pt x="112" y="258"/>
                    <a:pt x="112" y="258"/>
                    <a:pt x="112" y="258"/>
                  </a:cubicBezTo>
                </a:path>
              </a:pathLst>
            </a:custGeom>
            <a:solidFill>
              <a:srgbClr val="6351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0" name="işḷíďe">
              <a:extLst>
                <a:ext uri="{FF2B5EF4-FFF2-40B4-BE49-F238E27FC236}">
                  <a16:creationId xmlns:a16="http://schemas.microsoft.com/office/drawing/2014/main" id="{DF7F48BD-91E0-490D-B049-E7838B62C56D}"/>
                </a:ext>
              </a:extLst>
            </p:cNvPr>
            <p:cNvSpPr/>
            <p:nvPr userDrawn="1"/>
          </p:nvSpPr>
          <p:spPr bwMode="auto">
            <a:xfrm>
              <a:off x="5518150" y="4651375"/>
              <a:ext cx="590550" cy="949325"/>
            </a:xfrm>
            <a:custGeom>
              <a:avLst/>
              <a:gdLst>
                <a:gd name="T0" fmla="*/ 160 w 160"/>
                <a:gd name="T1" fmla="*/ 0 h 258"/>
                <a:gd name="T2" fmla="*/ 0 w 160"/>
                <a:gd name="T3" fmla="*/ 0 h 258"/>
                <a:gd name="T4" fmla="*/ 2 w 160"/>
                <a:gd name="T5" fmla="*/ 9 h 258"/>
                <a:gd name="T6" fmla="*/ 28 w 160"/>
                <a:gd name="T7" fmla="*/ 91 h 258"/>
                <a:gd name="T8" fmla="*/ 52 w 160"/>
                <a:gd name="T9" fmla="*/ 171 h 258"/>
                <a:gd name="T10" fmla="*/ 63 w 160"/>
                <a:gd name="T11" fmla="*/ 258 h 258"/>
                <a:gd name="T12" fmla="*/ 91 w 160"/>
                <a:gd name="T13" fmla="*/ 258 h 258"/>
                <a:gd name="T14" fmla="*/ 55 w 160"/>
                <a:gd name="T15" fmla="*/ 28 h 258"/>
                <a:gd name="T16" fmla="*/ 160 w 160"/>
                <a:gd name="T17" fmla="*/ 28 h 258"/>
                <a:gd name="T18" fmla="*/ 160 w 160"/>
                <a:gd name="T19" fmla="*/ 0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0" h="258">
                  <a:moveTo>
                    <a:pt x="16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3"/>
                    <a:pt x="2" y="6"/>
                    <a:pt x="2" y="9"/>
                  </a:cubicBezTo>
                  <a:cubicBezTo>
                    <a:pt x="9" y="37"/>
                    <a:pt x="19" y="64"/>
                    <a:pt x="28" y="91"/>
                  </a:cubicBezTo>
                  <a:cubicBezTo>
                    <a:pt x="36" y="117"/>
                    <a:pt x="46" y="144"/>
                    <a:pt x="52" y="171"/>
                  </a:cubicBezTo>
                  <a:cubicBezTo>
                    <a:pt x="56" y="186"/>
                    <a:pt x="59" y="242"/>
                    <a:pt x="63" y="258"/>
                  </a:cubicBezTo>
                  <a:cubicBezTo>
                    <a:pt x="91" y="258"/>
                    <a:pt x="91" y="258"/>
                    <a:pt x="91" y="258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160" y="28"/>
                    <a:pt x="160" y="28"/>
                    <a:pt x="160" y="28"/>
                  </a:cubicBezTo>
                  <a:cubicBezTo>
                    <a:pt x="160" y="0"/>
                    <a:pt x="160" y="0"/>
                    <a:pt x="160" y="0"/>
                  </a:cubicBezTo>
                </a:path>
              </a:pathLst>
            </a:custGeom>
            <a:solidFill>
              <a:srgbClr val="6351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1" name="ïṥļîdê">
              <a:extLst>
                <a:ext uri="{FF2B5EF4-FFF2-40B4-BE49-F238E27FC236}">
                  <a16:creationId xmlns:a16="http://schemas.microsoft.com/office/drawing/2014/main" id="{135D0D4C-D18D-4EA1-8E4B-F3F3E061127A}"/>
                </a:ext>
              </a:extLst>
            </p:cNvPr>
            <p:cNvSpPr/>
            <p:nvPr userDrawn="1"/>
          </p:nvSpPr>
          <p:spPr bwMode="auto">
            <a:xfrm>
              <a:off x="5634038" y="2728913"/>
              <a:ext cx="190500" cy="284163"/>
            </a:xfrm>
            <a:custGeom>
              <a:avLst/>
              <a:gdLst>
                <a:gd name="T0" fmla="*/ 52 w 52"/>
                <a:gd name="T1" fmla="*/ 25 h 77"/>
                <a:gd name="T2" fmla="*/ 18 w 52"/>
                <a:gd name="T3" fmla="*/ 14 h 77"/>
                <a:gd name="T4" fmla="*/ 52 w 52"/>
                <a:gd name="T5" fmla="*/ 69 h 77"/>
                <a:gd name="T6" fmla="*/ 52 w 52"/>
                <a:gd name="T7" fmla="*/ 2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77">
                  <a:moveTo>
                    <a:pt x="52" y="25"/>
                  </a:moveTo>
                  <a:cubicBezTo>
                    <a:pt x="52" y="25"/>
                    <a:pt x="36" y="0"/>
                    <a:pt x="18" y="14"/>
                  </a:cubicBezTo>
                  <a:cubicBezTo>
                    <a:pt x="0" y="27"/>
                    <a:pt x="19" y="77"/>
                    <a:pt x="52" y="69"/>
                  </a:cubicBezTo>
                  <a:lnTo>
                    <a:pt x="52" y="25"/>
                  </a:ln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2" name="isḻîḋè">
              <a:extLst>
                <a:ext uri="{FF2B5EF4-FFF2-40B4-BE49-F238E27FC236}">
                  <a16:creationId xmlns:a16="http://schemas.microsoft.com/office/drawing/2014/main" id="{711F711D-E110-421D-933F-4C10A1A62617}"/>
                </a:ext>
              </a:extLst>
            </p:cNvPr>
            <p:cNvSpPr/>
            <p:nvPr userDrawn="1"/>
          </p:nvSpPr>
          <p:spPr bwMode="auto">
            <a:xfrm>
              <a:off x="5676900" y="2798763"/>
              <a:ext cx="147638" cy="177800"/>
            </a:xfrm>
            <a:custGeom>
              <a:avLst/>
              <a:gdLst>
                <a:gd name="T0" fmla="*/ 40 w 40"/>
                <a:gd name="T1" fmla="*/ 23 h 48"/>
                <a:gd name="T2" fmla="*/ 40 w 40"/>
                <a:gd name="T3" fmla="*/ 45 h 48"/>
                <a:gd name="T4" fmla="*/ 13 w 40"/>
                <a:gd name="T5" fmla="*/ 3 h 48"/>
                <a:gd name="T6" fmla="*/ 40 w 40"/>
                <a:gd name="T7" fmla="*/ 2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48">
                  <a:moveTo>
                    <a:pt x="40" y="23"/>
                  </a:moveTo>
                  <a:cubicBezTo>
                    <a:pt x="40" y="45"/>
                    <a:pt x="40" y="45"/>
                    <a:pt x="40" y="45"/>
                  </a:cubicBezTo>
                  <a:cubicBezTo>
                    <a:pt x="12" y="48"/>
                    <a:pt x="0" y="8"/>
                    <a:pt x="13" y="3"/>
                  </a:cubicBezTo>
                  <a:cubicBezTo>
                    <a:pt x="24" y="0"/>
                    <a:pt x="35" y="15"/>
                    <a:pt x="40" y="23"/>
                  </a:cubicBezTo>
                  <a:close/>
                </a:path>
              </a:pathLst>
            </a:custGeom>
            <a:solidFill>
              <a:srgbClr val="F7A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3" name="íṥľïḓê">
              <a:extLst>
                <a:ext uri="{FF2B5EF4-FFF2-40B4-BE49-F238E27FC236}">
                  <a16:creationId xmlns:a16="http://schemas.microsoft.com/office/drawing/2014/main" id="{7070EA34-2784-4362-8DF0-EA6726DC0BD9}"/>
                </a:ext>
              </a:extLst>
            </p:cNvPr>
            <p:cNvSpPr/>
            <p:nvPr userDrawn="1"/>
          </p:nvSpPr>
          <p:spPr bwMode="auto">
            <a:xfrm>
              <a:off x="5707063" y="2803525"/>
              <a:ext cx="117475" cy="80963"/>
            </a:xfrm>
            <a:custGeom>
              <a:avLst/>
              <a:gdLst>
                <a:gd name="T0" fmla="*/ 0 w 32"/>
                <a:gd name="T1" fmla="*/ 10 h 22"/>
                <a:gd name="T2" fmla="*/ 0 w 32"/>
                <a:gd name="T3" fmla="*/ 10 h 22"/>
                <a:gd name="T4" fmla="*/ 0 w 32"/>
                <a:gd name="T5" fmla="*/ 8 h 22"/>
                <a:gd name="T6" fmla="*/ 3 w 32"/>
                <a:gd name="T7" fmla="*/ 5 h 22"/>
                <a:gd name="T8" fmla="*/ 4 w 32"/>
                <a:gd name="T9" fmla="*/ 4 h 22"/>
                <a:gd name="T10" fmla="*/ 5 w 32"/>
                <a:gd name="T11" fmla="*/ 4 h 22"/>
                <a:gd name="T12" fmla="*/ 5 w 32"/>
                <a:gd name="T13" fmla="*/ 4 h 22"/>
                <a:gd name="T14" fmla="*/ 5 w 32"/>
                <a:gd name="T15" fmla="*/ 4 h 22"/>
                <a:gd name="T16" fmla="*/ 5 w 32"/>
                <a:gd name="T17" fmla="*/ 4 h 22"/>
                <a:gd name="T18" fmla="*/ 5 w 32"/>
                <a:gd name="T19" fmla="*/ 4 h 22"/>
                <a:gd name="T20" fmla="*/ 5 w 32"/>
                <a:gd name="T21" fmla="*/ 4 h 22"/>
                <a:gd name="T22" fmla="*/ 5 w 32"/>
                <a:gd name="T23" fmla="*/ 4 h 22"/>
                <a:gd name="T24" fmla="*/ 6 w 32"/>
                <a:gd name="T25" fmla="*/ 4 h 22"/>
                <a:gd name="T26" fmla="*/ 7 w 32"/>
                <a:gd name="T27" fmla="*/ 4 h 22"/>
                <a:gd name="T28" fmla="*/ 8 w 32"/>
                <a:gd name="T29" fmla="*/ 4 h 22"/>
                <a:gd name="T30" fmla="*/ 8 w 32"/>
                <a:gd name="T31" fmla="*/ 4 h 22"/>
                <a:gd name="T32" fmla="*/ 9 w 32"/>
                <a:gd name="T33" fmla="*/ 4 h 22"/>
                <a:gd name="T34" fmla="*/ 16 w 32"/>
                <a:gd name="T35" fmla="*/ 7 h 22"/>
                <a:gd name="T36" fmla="*/ 19 w 32"/>
                <a:gd name="T37" fmla="*/ 9 h 22"/>
                <a:gd name="T38" fmla="*/ 22 w 32"/>
                <a:gd name="T39" fmla="*/ 12 h 22"/>
                <a:gd name="T40" fmla="*/ 27 w 32"/>
                <a:gd name="T41" fmla="*/ 17 h 22"/>
                <a:gd name="T42" fmla="*/ 32 w 32"/>
                <a:gd name="T43" fmla="*/ 22 h 22"/>
                <a:gd name="T44" fmla="*/ 31 w 32"/>
                <a:gd name="T45" fmla="*/ 20 h 22"/>
                <a:gd name="T46" fmla="*/ 29 w 32"/>
                <a:gd name="T47" fmla="*/ 15 h 22"/>
                <a:gd name="T48" fmla="*/ 27 w 32"/>
                <a:gd name="T49" fmla="*/ 12 h 22"/>
                <a:gd name="T50" fmla="*/ 25 w 32"/>
                <a:gd name="T51" fmla="*/ 9 h 22"/>
                <a:gd name="T52" fmla="*/ 18 w 32"/>
                <a:gd name="T53" fmla="*/ 4 h 22"/>
                <a:gd name="T54" fmla="*/ 14 w 32"/>
                <a:gd name="T55" fmla="*/ 1 h 22"/>
                <a:gd name="T56" fmla="*/ 10 w 32"/>
                <a:gd name="T57" fmla="*/ 0 h 22"/>
                <a:gd name="T58" fmla="*/ 8 w 32"/>
                <a:gd name="T59" fmla="*/ 0 h 22"/>
                <a:gd name="T60" fmla="*/ 7 w 32"/>
                <a:gd name="T61" fmla="*/ 0 h 22"/>
                <a:gd name="T62" fmla="*/ 6 w 32"/>
                <a:gd name="T63" fmla="*/ 1 h 22"/>
                <a:gd name="T64" fmla="*/ 5 w 32"/>
                <a:gd name="T65" fmla="*/ 1 h 22"/>
                <a:gd name="T66" fmla="*/ 5 w 32"/>
                <a:gd name="T67" fmla="*/ 1 h 22"/>
                <a:gd name="T68" fmla="*/ 4 w 32"/>
                <a:gd name="T69" fmla="*/ 1 h 22"/>
                <a:gd name="T70" fmla="*/ 4 w 32"/>
                <a:gd name="T71" fmla="*/ 1 h 22"/>
                <a:gd name="T72" fmla="*/ 3 w 32"/>
                <a:gd name="T73" fmla="*/ 2 h 22"/>
                <a:gd name="T74" fmla="*/ 2 w 32"/>
                <a:gd name="T75" fmla="*/ 3 h 22"/>
                <a:gd name="T76" fmla="*/ 0 w 32"/>
                <a:gd name="T77" fmla="*/ 6 h 22"/>
                <a:gd name="T78" fmla="*/ 0 w 32"/>
                <a:gd name="T79" fmla="*/ 8 h 22"/>
                <a:gd name="T80" fmla="*/ 0 w 32"/>
                <a:gd name="T81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" h="2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9"/>
                    <a:pt x="0" y="9"/>
                    <a:pt x="0" y="8"/>
                  </a:cubicBezTo>
                  <a:cubicBezTo>
                    <a:pt x="1" y="7"/>
                    <a:pt x="2" y="6"/>
                    <a:pt x="3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1" y="4"/>
                    <a:pt x="14" y="5"/>
                    <a:pt x="16" y="7"/>
                  </a:cubicBezTo>
                  <a:cubicBezTo>
                    <a:pt x="17" y="7"/>
                    <a:pt x="18" y="8"/>
                    <a:pt x="19" y="9"/>
                  </a:cubicBezTo>
                  <a:cubicBezTo>
                    <a:pt x="20" y="10"/>
                    <a:pt x="21" y="11"/>
                    <a:pt x="22" y="12"/>
                  </a:cubicBezTo>
                  <a:cubicBezTo>
                    <a:pt x="24" y="13"/>
                    <a:pt x="26" y="15"/>
                    <a:pt x="27" y="17"/>
                  </a:cubicBezTo>
                  <a:cubicBezTo>
                    <a:pt x="30" y="20"/>
                    <a:pt x="32" y="22"/>
                    <a:pt x="32" y="22"/>
                  </a:cubicBezTo>
                  <a:cubicBezTo>
                    <a:pt x="32" y="22"/>
                    <a:pt x="32" y="21"/>
                    <a:pt x="31" y="20"/>
                  </a:cubicBezTo>
                  <a:cubicBezTo>
                    <a:pt x="31" y="19"/>
                    <a:pt x="30" y="17"/>
                    <a:pt x="29" y="15"/>
                  </a:cubicBezTo>
                  <a:cubicBezTo>
                    <a:pt x="28" y="14"/>
                    <a:pt x="28" y="13"/>
                    <a:pt x="27" y="12"/>
                  </a:cubicBezTo>
                  <a:cubicBezTo>
                    <a:pt x="26" y="11"/>
                    <a:pt x="25" y="10"/>
                    <a:pt x="25" y="9"/>
                  </a:cubicBezTo>
                  <a:cubicBezTo>
                    <a:pt x="23" y="7"/>
                    <a:pt x="21" y="5"/>
                    <a:pt x="18" y="4"/>
                  </a:cubicBezTo>
                  <a:cubicBezTo>
                    <a:pt x="17" y="3"/>
                    <a:pt x="15" y="2"/>
                    <a:pt x="14" y="1"/>
                  </a:cubicBezTo>
                  <a:cubicBezTo>
                    <a:pt x="13" y="1"/>
                    <a:pt x="11" y="1"/>
                    <a:pt x="10" y="0"/>
                  </a:cubicBezTo>
                  <a:cubicBezTo>
                    <a:pt x="9" y="0"/>
                    <a:pt x="9" y="0"/>
                    <a:pt x="8" y="0"/>
                  </a:cubicBezTo>
                  <a:cubicBezTo>
                    <a:pt x="8" y="0"/>
                    <a:pt x="8" y="0"/>
                    <a:pt x="7" y="0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6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2" y="3"/>
                    <a:pt x="2" y="3"/>
                  </a:cubicBezTo>
                  <a:cubicBezTo>
                    <a:pt x="1" y="4"/>
                    <a:pt x="0" y="5"/>
                    <a:pt x="0" y="6"/>
                  </a:cubicBezTo>
                  <a:cubicBezTo>
                    <a:pt x="0" y="7"/>
                    <a:pt x="0" y="7"/>
                    <a:pt x="0" y="8"/>
                  </a:cubicBezTo>
                  <a:cubicBezTo>
                    <a:pt x="0" y="9"/>
                    <a:pt x="0" y="9"/>
                    <a:pt x="0" y="1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4" name="íş1íḋê">
              <a:extLst>
                <a:ext uri="{FF2B5EF4-FFF2-40B4-BE49-F238E27FC236}">
                  <a16:creationId xmlns:a16="http://schemas.microsoft.com/office/drawing/2014/main" id="{491A23F2-4EB6-4B83-9630-37BEFCB7E628}"/>
                </a:ext>
              </a:extLst>
            </p:cNvPr>
            <p:cNvSpPr/>
            <p:nvPr userDrawn="1"/>
          </p:nvSpPr>
          <p:spPr bwMode="auto">
            <a:xfrm>
              <a:off x="6418263" y="2795588"/>
              <a:ext cx="214313" cy="287338"/>
            </a:xfrm>
            <a:custGeom>
              <a:avLst/>
              <a:gdLst>
                <a:gd name="T0" fmla="*/ 7 w 58"/>
                <a:gd name="T1" fmla="*/ 22 h 78"/>
                <a:gd name="T2" fmla="*/ 43 w 58"/>
                <a:gd name="T3" fmla="*/ 16 h 78"/>
                <a:gd name="T4" fmla="*/ 0 w 58"/>
                <a:gd name="T5" fmla="*/ 65 h 78"/>
                <a:gd name="T6" fmla="*/ 7 w 58"/>
                <a:gd name="T7" fmla="*/ 2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78">
                  <a:moveTo>
                    <a:pt x="7" y="22"/>
                  </a:moveTo>
                  <a:cubicBezTo>
                    <a:pt x="7" y="22"/>
                    <a:pt x="27" y="0"/>
                    <a:pt x="43" y="16"/>
                  </a:cubicBezTo>
                  <a:cubicBezTo>
                    <a:pt x="58" y="33"/>
                    <a:pt x="31" y="78"/>
                    <a:pt x="0" y="65"/>
                  </a:cubicBezTo>
                  <a:lnTo>
                    <a:pt x="7" y="22"/>
                  </a:ln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5" name="íṧḷíďè">
              <a:extLst>
                <a:ext uri="{FF2B5EF4-FFF2-40B4-BE49-F238E27FC236}">
                  <a16:creationId xmlns:a16="http://schemas.microsoft.com/office/drawing/2014/main" id="{322F4DD9-730D-4544-A7DE-3350831769B1}"/>
                </a:ext>
              </a:extLst>
            </p:cNvPr>
            <p:cNvSpPr/>
            <p:nvPr userDrawn="1"/>
          </p:nvSpPr>
          <p:spPr bwMode="auto">
            <a:xfrm>
              <a:off x="6418263" y="2865438"/>
              <a:ext cx="173038" cy="176213"/>
            </a:xfrm>
            <a:custGeom>
              <a:avLst/>
              <a:gdLst>
                <a:gd name="T0" fmla="*/ 4 w 47"/>
                <a:gd name="T1" fmla="*/ 19 h 48"/>
                <a:gd name="T2" fmla="*/ 0 w 47"/>
                <a:gd name="T3" fmla="*/ 41 h 48"/>
                <a:gd name="T4" fmla="*/ 34 w 47"/>
                <a:gd name="T5" fmla="*/ 5 h 48"/>
                <a:gd name="T6" fmla="*/ 4 w 47"/>
                <a:gd name="T7" fmla="*/ 19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" h="48">
                  <a:moveTo>
                    <a:pt x="4" y="19"/>
                  </a:moveTo>
                  <a:cubicBezTo>
                    <a:pt x="0" y="41"/>
                    <a:pt x="0" y="41"/>
                    <a:pt x="0" y="41"/>
                  </a:cubicBezTo>
                  <a:cubicBezTo>
                    <a:pt x="28" y="48"/>
                    <a:pt x="47" y="11"/>
                    <a:pt x="34" y="5"/>
                  </a:cubicBezTo>
                  <a:cubicBezTo>
                    <a:pt x="24" y="0"/>
                    <a:pt x="10" y="12"/>
                    <a:pt x="4" y="19"/>
                  </a:cubicBezTo>
                  <a:close/>
                </a:path>
              </a:pathLst>
            </a:custGeom>
            <a:solidFill>
              <a:srgbClr val="F7A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6" name="ïşlíďe">
              <a:extLst>
                <a:ext uri="{FF2B5EF4-FFF2-40B4-BE49-F238E27FC236}">
                  <a16:creationId xmlns:a16="http://schemas.microsoft.com/office/drawing/2014/main" id="{1DB26175-BBC7-4751-8986-01AC218C0414}"/>
                </a:ext>
              </a:extLst>
            </p:cNvPr>
            <p:cNvSpPr/>
            <p:nvPr userDrawn="1"/>
          </p:nvSpPr>
          <p:spPr bwMode="auto">
            <a:xfrm>
              <a:off x="6434138" y="2873375"/>
              <a:ext cx="123825" cy="61913"/>
            </a:xfrm>
            <a:custGeom>
              <a:avLst/>
              <a:gdLst>
                <a:gd name="T0" fmla="*/ 34 w 34"/>
                <a:gd name="T1" fmla="*/ 11 h 17"/>
                <a:gd name="T2" fmla="*/ 34 w 34"/>
                <a:gd name="T3" fmla="*/ 10 h 17"/>
                <a:gd name="T4" fmla="*/ 34 w 34"/>
                <a:gd name="T5" fmla="*/ 9 h 17"/>
                <a:gd name="T6" fmla="*/ 31 w 34"/>
                <a:gd name="T7" fmla="*/ 5 h 17"/>
                <a:gd name="T8" fmla="*/ 30 w 34"/>
                <a:gd name="T9" fmla="*/ 4 h 17"/>
                <a:gd name="T10" fmla="*/ 30 w 34"/>
                <a:gd name="T11" fmla="*/ 4 h 17"/>
                <a:gd name="T12" fmla="*/ 30 w 34"/>
                <a:gd name="T13" fmla="*/ 4 h 17"/>
                <a:gd name="T14" fmla="*/ 30 w 34"/>
                <a:gd name="T15" fmla="*/ 4 h 17"/>
                <a:gd name="T16" fmla="*/ 30 w 34"/>
                <a:gd name="T17" fmla="*/ 4 h 17"/>
                <a:gd name="T18" fmla="*/ 30 w 34"/>
                <a:gd name="T19" fmla="*/ 4 h 17"/>
                <a:gd name="T20" fmla="*/ 30 w 34"/>
                <a:gd name="T21" fmla="*/ 4 h 17"/>
                <a:gd name="T22" fmla="*/ 29 w 34"/>
                <a:gd name="T23" fmla="*/ 4 h 17"/>
                <a:gd name="T24" fmla="*/ 29 w 34"/>
                <a:gd name="T25" fmla="*/ 4 h 17"/>
                <a:gd name="T26" fmla="*/ 28 w 34"/>
                <a:gd name="T27" fmla="*/ 3 h 17"/>
                <a:gd name="T28" fmla="*/ 27 w 34"/>
                <a:gd name="T29" fmla="*/ 3 h 17"/>
                <a:gd name="T30" fmla="*/ 27 w 34"/>
                <a:gd name="T31" fmla="*/ 3 h 17"/>
                <a:gd name="T32" fmla="*/ 26 w 34"/>
                <a:gd name="T33" fmla="*/ 3 h 17"/>
                <a:gd name="T34" fmla="*/ 19 w 34"/>
                <a:gd name="T35" fmla="*/ 5 h 17"/>
                <a:gd name="T36" fmla="*/ 15 w 34"/>
                <a:gd name="T37" fmla="*/ 7 h 17"/>
                <a:gd name="T38" fmla="*/ 12 w 34"/>
                <a:gd name="T39" fmla="*/ 9 h 17"/>
                <a:gd name="T40" fmla="*/ 6 w 34"/>
                <a:gd name="T41" fmla="*/ 13 h 17"/>
                <a:gd name="T42" fmla="*/ 0 w 34"/>
                <a:gd name="T43" fmla="*/ 17 h 17"/>
                <a:gd name="T44" fmla="*/ 1 w 34"/>
                <a:gd name="T45" fmla="*/ 15 h 17"/>
                <a:gd name="T46" fmla="*/ 4 w 34"/>
                <a:gd name="T47" fmla="*/ 11 h 17"/>
                <a:gd name="T48" fmla="*/ 7 w 34"/>
                <a:gd name="T49" fmla="*/ 9 h 17"/>
                <a:gd name="T50" fmla="*/ 10 w 34"/>
                <a:gd name="T51" fmla="*/ 6 h 17"/>
                <a:gd name="T52" fmla="*/ 17 w 34"/>
                <a:gd name="T53" fmla="*/ 1 h 17"/>
                <a:gd name="T54" fmla="*/ 21 w 34"/>
                <a:gd name="T55" fmla="*/ 0 h 17"/>
                <a:gd name="T56" fmla="*/ 26 w 34"/>
                <a:gd name="T57" fmla="*/ 0 h 17"/>
                <a:gd name="T58" fmla="*/ 27 w 34"/>
                <a:gd name="T59" fmla="*/ 0 h 17"/>
                <a:gd name="T60" fmla="*/ 28 w 34"/>
                <a:gd name="T61" fmla="*/ 0 h 17"/>
                <a:gd name="T62" fmla="*/ 29 w 34"/>
                <a:gd name="T63" fmla="*/ 1 h 17"/>
                <a:gd name="T64" fmla="*/ 30 w 34"/>
                <a:gd name="T65" fmla="*/ 1 h 17"/>
                <a:gd name="T66" fmla="*/ 31 w 34"/>
                <a:gd name="T67" fmla="*/ 1 h 17"/>
                <a:gd name="T68" fmla="*/ 31 w 34"/>
                <a:gd name="T69" fmla="*/ 1 h 17"/>
                <a:gd name="T70" fmla="*/ 31 w 34"/>
                <a:gd name="T71" fmla="*/ 2 h 17"/>
                <a:gd name="T72" fmla="*/ 32 w 34"/>
                <a:gd name="T73" fmla="*/ 2 h 17"/>
                <a:gd name="T74" fmla="*/ 33 w 34"/>
                <a:gd name="T75" fmla="*/ 4 h 17"/>
                <a:gd name="T76" fmla="*/ 34 w 34"/>
                <a:gd name="T77" fmla="*/ 7 h 17"/>
                <a:gd name="T78" fmla="*/ 34 w 34"/>
                <a:gd name="T79" fmla="*/ 9 h 17"/>
                <a:gd name="T80" fmla="*/ 34 w 34"/>
                <a:gd name="T81" fmla="*/ 10 h 17"/>
                <a:gd name="T82" fmla="*/ 34 w 34"/>
                <a:gd name="T83" fmla="*/ 1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4" h="17">
                  <a:moveTo>
                    <a:pt x="34" y="11"/>
                  </a:moveTo>
                  <a:cubicBezTo>
                    <a:pt x="34" y="10"/>
                    <a:pt x="34" y="10"/>
                    <a:pt x="34" y="10"/>
                  </a:cubicBezTo>
                  <a:cubicBezTo>
                    <a:pt x="34" y="10"/>
                    <a:pt x="34" y="10"/>
                    <a:pt x="34" y="9"/>
                  </a:cubicBezTo>
                  <a:cubicBezTo>
                    <a:pt x="33" y="8"/>
                    <a:pt x="33" y="6"/>
                    <a:pt x="31" y="5"/>
                  </a:cubicBezTo>
                  <a:cubicBezTo>
                    <a:pt x="31" y="5"/>
                    <a:pt x="31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3" y="3"/>
                    <a:pt x="21" y="4"/>
                    <a:pt x="19" y="5"/>
                  </a:cubicBezTo>
                  <a:cubicBezTo>
                    <a:pt x="17" y="5"/>
                    <a:pt x="16" y="6"/>
                    <a:pt x="15" y="7"/>
                  </a:cubicBezTo>
                  <a:cubicBezTo>
                    <a:pt x="14" y="7"/>
                    <a:pt x="13" y="8"/>
                    <a:pt x="12" y="9"/>
                  </a:cubicBezTo>
                  <a:cubicBezTo>
                    <a:pt x="10" y="10"/>
                    <a:pt x="8" y="12"/>
                    <a:pt x="6" y="13"/>
                  </a:cubicBezTo>
                  <a:cubicBezTo>
                    <a:pt x="3" y="15"/>
                    <a:pt x="0" y="17"/>
                    <a:pt x="0" y="17"/>
                  </a:cubicBezTo>
                  <a:cubicBezTo>
                    <a:pt x="0" y="17"/>
                    <a:pt x="1" y="16"/>
                    <a:pt x="1" y="15"/>
                  </a:cubicBezTo>
                  <a:cubicBezTo>
                    <a:pt x="2" y="14"/>
                    <a:pt x="3" y="13"/>
                    <a:pt x="4" y="11"/>
                  </a:cubicBezTo>
                  <a:cubicBezTo>
                    <a:pt x="5" y="10"/>
                    <a:pt x="6" y="10"/>
                    <a:pt x="7" y="9"/>
                  </a:cubicBezTo>
                  <a:cubicBezTo>
                    <a:pt x="8" y="8"/>
                    <a:pt x="9" y="7"/>
                    <a:pt x="10" y="6"/>
                  </a:cubicBezTo>
                  <a:cubicBezTo>
                    <a:pt x="12" y="4"/>
                    <a:pt x="14" y="3"/>
                    <a:pt x="17" y="1"/>
                  </a:cubicBezTo>
                  <a:cubicBezTo>
                    <a:pt x="18" y="1"/>
                    <a:pt x="20" y="0"/>
                    <a:pt x="21" y="0"/>
                  </a:cubicBezTo>
                  <a:cubicBezTo>
                    <a:pt x="23" y="0"/>
                    <a:pt x="24" y="0"/>
                    <a:pt x="26" y="0"/>
                  </a:cubicBezTo>
                  <a:cubicBezTo>
                    <a:pt x="26" y="0"/>
                    <a:pt x="27" y="0"/>
                    <a:pt x="27" y="0"/>
                  </a:cubicBezTo>
                  <a:cubicBezTo>
                    <a:pt x="27" y="0"/>
                    <a:pt x="28" y="0"/>
                    <a:pt x="28" y="0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3"/>
                    <a:pt x="33" y="3"/>
                    <a:pt x="33" y="4"/>
                  </a:cubicBezTo>
                  <a:cubicBezTo>
                    <a:pt x="34" y="5"/>
                    <a:pt x="34" y="6"/>
                    <a:pt x="34" y="7"/>
                  </a:cubicBezTo>
                  <a:cubicBezTo>
                    <a:pt x="34" y="8"/>
                    <a:pt x="34" y="8"/>
                    <a:pt x="34" y="9"/>
                  </a:cubicBezTo>
                  <a:cubicBezTo>
                    <a:pt x="34" y="10"/>
                    <a:pt x="34" y="10"/>
                    <a:pt x="34" y="10"/>
                  </a:cubicBezTo>
                  <a:lnTo>
                    <a:pt x="34" y="11"/>
                  </a:ln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7" name="íṧ1iḍé">
              <a:extLst>
                <a:ext uri="{FF2B5EF4-FFF2-40B4-BE49-F238E27FC236}">
                  <a16:creationId xmlns:a16="http://schemas.microsoft.com/office/drawing/2014/main" id="{39926ECE-6B6B-4858-B85D-CBDFEBE5E3E2}"/>
                </a:ext>
              </a:extLst>
            </p:cNvPr>
            <p:cNvSpPr/>
            <p:nvPr userDrawn="1"/>
          </p:nvSpPr>
          <p:spPr bwMode="auto">
            <a:xfrm>
              <a:off x="6019800" y="3116263"/>
              <a:ext cx="180975" cy="319088"/>
            </a:xfrm>
            <a:custGeom>
              <a:avLst/>
              <a:gdLst>
                <a:gd name="T0" fmla="*/ 1 w 49"/>
                <a:gd name="T1" fmla="*/ 0 h 87"/>
                <a:gd name="T2" fmla="*/ 47 w 49"/>
                <a:gd name="T3" fmla="*/ 0 h 87"/>
                <a:gd name="T4" fmla="*/ 49 w 49"/>
                <a:gd name="T5" fmla="*/ 72 h 87"/>
                <a:gd name="T6" fmla="*/ 25 w 49"/>
                <a:gd name="T7" fmla="*/ 86 h 87"/>
                <a:gd name="T8" fmla="*/ 0 w 49"/>
                <a:gd name="T9" fmla="*/ 72 h 87"/>
                <a:gd name="T10" fmla="*/ 1 w 49"/>
                <a:gd name="T11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" h="87">
                  <a:moveTo>
                    <a:pt x="1" y="0"/>
                  </a:moveTo>
                  <a:cubicBezTo>
                    <a:pt x="47" y="0"/>
                    <a:pt x="47" y="0"/>
                    <a:pt x="47" y="0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5" y="86"/>
                    <a:pt x="25" y="86"/>
                  </a:cubicBezTo>
                  <a:cubicBezTo>
                    <a:pt x="5" y="87"/>
                    <a:pt x="0" y="72"/>
                    <a:pt x="0" y="72"/>
                  </a:cubicBezTo>
                  <a:cubicBezTo>
                    <a:pt x="0" y="7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8" name="íSḷíḍé">
              <a:extLst>
                <a:ext uri="{FF2B5EF4-FFF2-40B4-BE49-F238E27FC236}">
                  <a16:creationId xmlns:a16="http://schemas.microsoft.com/office/drawing/2014/main" id="{543C7DE3-45FE-4694-A597-44516AF0D109}"/>
                </a:ext>
              </a:extLst>
            </p:cNvPr>
            <p:cNvSpPr/>
            <p:nvPr userDrawn="1"/>
          </p:nvSpPr>
          <p:spPr bwMode="auto">
            <a:xfrm>
              <a:off x="6019800" y="3116263"/>
              <a:ext cx="180975" cy="319088"/>
            </a:xfrm>
            <a:custGeom>
              <a:avLst/>
              <a:gdLst>
                <a:gd name="T0" fmla="*/ 1 w 49"/>
                <a:gd name="T1" fmla="*/ 0 h 87"/>
                <a:gd name="T2" fmla="*/ 47 w 49"/>
                <a:gd name="T3" fmla="*/ 0 h 87"/>
                <a:gd name="T4" fmla="*/ 49 w 49"/>
                <a:gd name="T5" fmla="*/ 72 h 87"/>
                <a:gd name="T6" fmla="*/ 25 w 49"/>
                <a:gd name="T7" fmla="*/ 86 h 87"/>
                <a:gd name="T8" fmla="*/ 0 w 49"/>
                <a:gd name="T9" fmla="*/ 72 h 87"/>
                <a:gd name="T10" fmla="*/ 1 w 49"/>
                <a:gd name="T11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" h="87">
                  <a:moveTo>
                    <a:pt x="1" y="0"/>
                  </a:moveTo>
                  <a:cubicBezTo>
                    <a:pt x="47" y="0"/>
                    <a:pt x="47" y="0"/>
                    <a:pt x="47" y="0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5" y="86"/>
                    <a:pt x="25" y="86"/>
                  </a:cubicBezTo>
                  <a:cubicBezTo>
                    <a:pt x="5" y="87"/>
                    <a:pt x="0" y="72"/>
                    <a:pt x="0" y="72"/>
                  </a:cubicBezTo>
                  <a:cubicBezTo>
                    <a:pt x="0" y="7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9" name="ï$lïďê">
              <a:extLst>
                <a:ext uri="{FF2B5EF4-FFF2-40B4-BE49-F238E27FC236}">
                  <a16:creationId xmlns:a16="http://schemas.microsoft.com/office/drawing/2014/main" id="{56903C60-43D1-41B4-A06B-5D4321B26180}"/>
                </a:ext>
              </a:extLst>
            </p:cNvPr>
            <p:cNvSpPr/>
            <p:nvPr userDrawn="1"/>
          </p:nvSpPr>
          <p:spPr bwMode="auto">
            <a:xfrm>
              <a:off x="6024563" y="3155950"/>
              <a:ext cx="176213" cy="88900"/>
            </a:xfrm>
            <a:custGeom>
              <a:avLst/>
              <a:gdLst>
                <a:gd name="T0" fmla="*/ 3 w 48"/>
                <a:gd name="T1" fmla="*/ 0 h 24"/>
                <a:gd name="T2" fmla="*/ 48 w 48"/>
                <a:gd name="T3" fmla="*/ 4 h 24"/>
                <a:gd name="T4" fmla="*/ 48 w 48"/>
                <a:gd name="T5" fmla="*/ 21 h 24"/>
                <a:gd name="T6" fmla="*/ 33 w 48"/>
                <a:gd name="T7" fmla="*/ 23 h 24"/>
                <a:gd name="T8" fmla="*/ 0 w 48"/>
                <a:gd name="T9" fmla="*/ 18 h 24"/>
                <a:gd name="T10" fmla="*/ 3 w 48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" h="24">
                  <a:moveTo>
                    <a:pt x="3" y="0"/>
                  </a:moveTo>
                  <a:cubicBezTo>
                    <a:pt x="48" y="4"/>
                    <a:pt x="48" y="4"/>
                    <a:pt x="48" y="4"/>
                  </a:cubicBezTo>
                  <a:cubicBezTo>
                    <a:pt x="48" y="4"/>
                    <a:pt x="48" y="13"/>
                    <a:pt x="48" y="21"/>
                  </a:cubicBezTo>
                  <a:cubicBezTo>
                    <a:pt x="48" y="22"/>
                    <a:pt x="34" y="23"/>
                    <a:pt x="33" y="23"/>
                  </a:cubicBezTo>
                  <a:cubicBezTo>
                    <a:pt x="22" y="24"/>
                    <a:pt x="11" y="22"/>
                    <a:pt x="0" y="18"/>
                  </a:cubicBezTo>
                  <a:cubicBezTo>
                    <a:pt x="1" y="10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0" name="iṩlïḍe">
              <a:extLst>
                <a:ext uri="{FF2B5EF4-FFF2-40B4-BE49-F238E27FC236}">
                  <a16:creationId xmlns:a16="http://schemas.microsoft.com/office/drawing/2014/main" id="{58D298C8-779C-40AB-AEB2-79554B903AA5}"/>
                </a:ext>
              </a:extLst>
            </p:cNvPr>
            <p:cNvSpPr/>
            <p:nvPr userDrawn="1"/>
          </p:nvSpPr>
          <p:spPr bwMode="auto">
            <a:xfrm>
              <a:off x="5780088" y="2468563"/>
              <a:ext cx="723900" cy="784225"/>
            </a:xfrm>
            <a:custGeom>
              <a:avLst/>
              <a:gdLst>
                <a:gd name="T0" fmla="*/ 2 w 196"/>
                <a:gd name="T1" fmla="*/ 75 h 213"/>
                <a:gd name="T2" fmla="*/ 55 w 196"/>
                <a:gd name="T3" fmla="*/ 5 h 213"/>
                <a:gd name="T4" fmla="*/ 106 w 196"/>
                <a:gd name="T5" fmla="*/ 2 h 213"/>
                <a:gd name="T6" fmla="*/ 156 w 196"/>
                <a:gd name="T7" fmla="*/ 14 h 213"/>
                <a:gd name="T8" fmla="*/ 178 w 196"/>
                <a:gd name="T9" fmla="*/ 70 h 213"/>
                <a:gd name="T10" fmla="*/ 196 w 196"/>
                <a:gd name="T11" fmla="*/ 92 h 213"/>
                <a:gd name="T12" fmla="*/ 195 w 196"/>
                <a:gd name="T13" fmla="*/ 111 h 213"/>
                <a:gd name="T14" fmla="*/ 183 w 196"/>
                <a:gd name="T15" fmla="*/ 154 h 213"/>
                <a:gd name="T16" fmla="*/ 150 w 196"/>
                <a:gd name="T17" fmla="*/ 196 h 213"/>
                <a:gd name="T18" fmla="*/ 121 w 196"/>
                <a:gd name="T19" fmla="*/ 208 h 213"/>
                <a:gd name="T20" fmla="*/ 72 w 196"/>
                <a:gd name="T21" fmla="*/ 209 h 213"/>
                <a:gd name="T22" fmla="*/ 41 w 196"/>
                <a:gd name="T23" fmla="*/ 194 h 213"/>
                <a:gd name="T24" fmla="*/ 7 w 196"/>
                <a:gd name="T25" fmla="*/ 149 h 213"/>
                <a:gd name="T26" fmla="*/ 0 w 196"/>
                <a:gd name="T27" fmla="*/ 102 h 213"/>
                <a:gd name="T28" fmla="*/ 2 w 196"/>
                <a:gd name="T29" fmla="*/ 76 h 213"/>
                <a:gd name="T30" fmla="*/ 2 w 196"/>
                <a:gd name="T31" fmla="*/ 75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6" h="213">
                  <a:moveTo>
                    <a:pt x="2" y="75"/>
                  </a:moveTo>
                  <a:cubicBezTo>
                    <a:pt x="6" y="43"/>
                    <a:pt x="22" y="15"/>
                    <a:pt x="55" y="5"/>
                  </a:cubicBezTo>
                  <a:cubicBezTo>
                    <a:pt x="71" y="0"/>
                    <a:pt x="89" y="0"/>
                    <a:pt x="106" y="2"/>
                  </a:cubicBezTo>
                  <a:cubicBezTo>
                    <a:pt x="123" y="3"/>
                    <a:pt x="140" y="6"/>
                    <a:pt x="156" y="14"/>
                  </a:cubicBezTo>
                  <a:cubicBezTo>
                    <a:pt x="183" y="27"/>
                    <a:pt x="178" y="41"/>
                    <a:pt x="178" y="70"/>
                  </a:cubicBezTo>
                  <a:cubicBezTo>
                    <a:pt x="178" y="73"/>
                    <a:pt x="196" y="89"/>
                    <a:pt x="196" y="92"/>
                  </a:cubicBezTo>
                  <a:cubicBezTo>
                    <a:pt x="195" y="98"/>
                    <a:pt x="195" y="105"/>
                    <a:pt x="195" y="111"/>
                  </a:cubicBezTo>
                  <a:cubicBezTo>
                    <a:pt x="193" y="126"/>
                    <a:pt x="189" y="140"/>
                    <a:pt x="183" y="154"/>
                  </a:cubicBezTo>
                  <a:cubicBezTo>
                    <a:pt x="176" y="171"/>
                    <a:pt x="165" y="185"/>
                    <a:pt x="150" y="196"/>
                  </a:cubicBezTo>
                  <a:cubicBezTo>
                    <a:pt x="141" y="202"/>
                    <a:pt x="131" y="206"/>
                    <a:pt x="121" y="208"/>
                  </a:cubicBezTo>
                  <a:cubicBezTo>
                    <a:pt x="105" y="213"/>
                    <a:pt x="89" y="213"/>
                    <a:pt x="72" y="209"/>
                  </a:cubicBezTo>
                  <a:cubicBezTo>
                    <a:pt x="61" y="206"/>
                    <a:pt x="50" y="201"/>
                    <a:pt x="41" y="194"/>
                  </a:cubicBezTo>
                  <a:cubicBezTo>
                    <a:pt x="25" y="183"/>
                    <a:pt x="13" y="167"/>
                    <a:pt x="7" y="149"/>
                  </a:cubicBezTo>
                  <a:cubicBezTo>
                    <a:pt x="2" y="134"/>
                    <a:pt x="0" y="118"/>
                    <a:pt x="0" y="102"/>
                  </a:cubicBezTo>
                  <a:cubicBezTo>
                    <a:pt x="0" y="93"/>
                    <a:pt x="0" y="84"/>
                    <a:pt x="2" y="76"/>
                  </a:cubicBezTo>
                  <a:lnTo>
                    <a:pt x="2" y="75"/>
                  </a:ln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1" name="iš1íḓè">
              <a:extLst>
                <a:ext uri="{FF2B5EF4-FFF2-40B4-BE49-F238E27FC236}">
                  <a16:creationId xmlns:a16="http://schemas.microsoft.com/office/drawing/2014/main" id="{54D6F5CC-D071-4394-BC18-281B7DFF3181}"/>
                </a:ext>
              </a:extLst>
            </p:cNvPr>
            <p:cNvSpPr/>
            <p:nvPr userDrawn="1"/>
          </p:nvSpPr>
          <p:spPr bwMode="auto">
            <a:xfrm>
              <a:off x="5780088" y="2644775"/>
              <a:ext cx="4763" cy="103188"/>
            </a:xfrm>
            <a:custGeom>
              <a:avLst/>
              <a:gdLst>
                <a:gd name="T0" fmla="*/ 0 w 1"/>
                <a:gd name="T1" fmla="*/ 28 h 28"/>
                <a:gd name="T2" fmla="*/ 1 w 1"/>
                <a:gd name="T3" fmla="*/ 0 h 28"/>
                <a:gd name="T4" fmla="*/ 0 w 1"/>
                <a:gd name="T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8">
                  <a:moveTo>
                    <a:pt x="0" y="28"/>
                  </a:moveTo>
                  <a:cubicBezTo>
                    <a:pt x="0" y="28"/>
                    <a:pt x="0" y="15"/>
                    <a:pt x="1" y="0"/>
                  </a:cubicBezTo>
                  <a:cubicBezTo>
                    <a:pt x="0" y="16"/>
                    <a:pt x="0" y="28"/>
                    <a:pt x="0" y="28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2" name="işļíḍê">
              <a:extLst>
                <a:ext uri="{FF2B5EF4-FFF2-40B4-BE49-F238E27FC236}">
                  <a16:creationId xmlns:a16="http://schemas.microsoft.com/office/drawing/2014/main" id="{3218969E-AA7B-40DC-8260-8CE831764568}"/>
                </a:ext>
              </a:extLst>
            </p:cNvPr>
            <p:cNvSpPr/>
            <p:nvPr userDrawn="1"/>
          </p:nvSpPr>
          <p:spPr bwMode="auto">
            <a:xfrm>
              <a:off x="5570538" y="2301875"/>
              <a:ext cx="1014413" cy="971550"/>
            </a:xfrm>
            <a:custGeom>
              <a:avLst/>
              <a:gdLst>
                <a:gd name="T0" fmla="*/ 76 w 275"/>
                <a:gd name="T1" fmla="*/ 56 h 264"/>
                <a:gd name="T2" fmla="*/ 267 w 275"/>
                <a:gd name="T3" fmla="*/ 145 h 264"/>
                <a:gd name="T4" fmla="*/ 98 w 275"/>
                <a:gd name="T5" fmla="*/ 239 h 264"/>
                <a:gd name="T6" fmla="*/ 76 w 275"/>
                <a:gd name="T7" fmla="*/ 56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5" h="264">
                  <a:moveTo>
                    <a:pt x="76" y="56"/>
                  </a:moveTo>
                  <a:cubicBezTo>
                    <a:pt x="104" y="13"/>
                    <a:pt x="258" y="0"/>
                    <a:pt x="267" y="145"/>
                  </a:cubicBezTo>
                  <a:cubicBezTo>
                    <a:pt x="275" y="251"/>
                    <a:pt x="155" y="264"/>
                    <a:pt x="98" y="239"/>
                  </a:cubicBezTo>
                  <a:cubicBezTo>
                    <a:pt x="0" y="197"/>
                    <a:pt x="47" y="99"/>
                    <a:pt x="76" y="56"/>
                  </a:cubicBezTo>
                  <a:close/>
                </a:path>
              </a:pathLst>
            </a:custGeom>
            <a:solidFill>
              <a:srgbClr val="B572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3" name="ïṡļíḋe">
              <a:extLst>
                <a:ext uri="{FF2B5EF4-FFF2-40B4-BE49-F238E27FC236}">
                  <a16:creationId xmlns:a16="http://schemas.microsoft.com/office/drawing/2014/main" id="{C315C162-743C-4C8A-A730-B6F554292C8F}"/>
                </a:ext>
              </a:extLst>
            </p:cNvPr>
            <p:cNvSpPr/>
            <p:nvPr userDrawn="1"/>
          </p:nvSpPr>
          <p:spPr bwMode="auto">
            <a:xfrm>
              <a:off x="5676900" y="2189163"/>
              <a:ext cx="860425" cy="717550"/>
            </a:xfrm>
            <a:custGeom>
              <a:avLst/>
              <a:gdLst>
                <a:gd name="T0" fmla="*/ 27 w 233"/>
                <a:gd name="T1" fmla="*/ 195 h 195"/>
                <a:gd name="T2" fmla="*/ 6 w 233"/>
                <a:gd name="T3" fmla="*/ 161 h 195"/>
                <a:gd name="T4" fmla="*/ 32 w 233"/>
                <a:gd name="T5" fmla="*/ 75 h 195"/>
                <a:gd name="T6" fmla="*/ 51 w 233"/>
                <a:gd name="T7" fmla="*/ 68 h 195"/>
                <a:gd name="T8" fmla="*/ 84 w 233"/>
                <a:gd name="T9" fmla="*/ 41 h 195"/>
                <a:gd name="T10" fmla="*/ 215 w 233"/>
                <a:gd name="T11" fmla="*/ 81 h 195"/>
                <a:gd name="T12" fmla="*/ 126 w 233"/>
                <a:gd name="T13" fmla="*/ 136 h 195"/>
                <a:gd name="T14" fmla="*/ 61 w 233"/>
                <a:gd name="T15" fmla="*/ 116 h 195"/>
                <a:gd name="T16" fmla="*/ 54 w 233"/>
                <a:gd name="T17" fmla="*/ 147 h 195"/>
                <a:gd name="T18" fmla="*/ 27 w 233"/>
                <a:gd name="T19" fmla="*/ 185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3" h="195">
                  <a:moveTo>
                    <a:pt x="27" y="195"/>
                  </a:moveTo>
                  <a:cubicBezTo>
                    <a:pt x="27" y="195"/>
                    <a:pt x="13" y="191"/>
                    <a:pt x="6" y="161"/>
                  </a:cubicBezTo>
                  <a:cubicBezTo>
                    <a:pt x="0" y="140"/>
                    <a:pt x="6" y="96"/>
                    <a:pt x="32" y="75"/>
                  </a:cubicBezTo>
                  <a:cubicBezTo>
                    <a:pt x="47" y="62"/>
                    <a:pt x="51" y="68"/>
                    <a:pt x="51" y="68"/>
                  </a:cubicBezTo>
                  <a:cubicBezTo>
                    <a:pt x="51" y="68"/>
                    <a:pt x="55" y="53"/>
                    <a:pt x="84" y="41"/>
                  </a:cubicBezTo>
                  <a:cubicBezTo>
                    <a:pt x="178" y="0"/>
                    <a:pt x="201" y="44"/>
                    <a:pt x="215" y="81"/>
                  </a:cubicBezTo>
                  <a:cubicBezTo>
                    <a:pt x="233" y="131"/>
                    <a:pt x="224" y="168"/>
                    <a:pt x="126" y="136"/>
                  </a:cubicBezTo>
                  <a:cubicBezTo>
                    <a:pt x="86" y="123"/>
                    <a:pt x="61" y="116"/>
                    <a:pt x="61" y="116"/>
                  </a:cubicBezTo>
                  <a:cubicBezTo>
                    <a:pt x="61" y="116"/>
                    <a:pt x="62" y="129"/>
                    <a:pt x="54" y="147"/>
                  </a:cubicBezTo>
                  <a:cubicBezTo>
                    <a:pt x="46" y="165"/>
                    <a:pt x="27" y="185"/>
                    <a:pt x="27" y="185"/>
                  </a:cubicBezTo>
                </a:path>
              </a:pathLst>
            </a:custGeom>
            <a:solidFill>
              <a:srgbClr val="B572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4" name="işľiḍê">
              <a:extLst>
                <a:ext uri="{FF2B5EF4-FFF2-40B4-BE49-F238E27FC236}">
                  <a16:creationId xmlns:a16="http://schemas.microsoft.com/office/drawing/2014/main" id="{681D4D48-80AB-4D9A-81C9-D092F448528A}"/>
                </a:ext>
              </a:extLst>
            </p:cNvPr>
            <p:cNvSpPr/>
            <p:nvPr userDrawn="1"/>
          </p:nvSpPr>
          <p:spPr bwMode="auto">
            <a:xfrm>
              <a:off x="5411788" y="3370263"/>
              <a:ext cx="1390650" cy="784225"/>
            </a:xfrm>
            <a:custGeom>
              <a:avLst/>
              <a:gdLst>
                <a:gd name="T0" fmla="*/ 365 w 377"/>
                <a:gd name="T1" fmla="*/ 154 h 213"/>
                <a:gd name="T2" fmla="*/ 310 w 377"/>
                <a:gd name="T3" fmla="*/ 30 h 213"/>
                <a:gd name="T4" fmla="*/ 258 w 377"/>
                <a:gd name="T5" fmla="*/ 0 h 213"/>
                <a:gd name="T6" fmla="*/ 192 w 377"/>
                <a:gd name="T7" fmla="*/ 0 h 213"/>
                <a:gd name="T8" fmla="*/ 185 w 377"/>
                <a:gd name="T9" fmla="*/ 0 h 213"/>
                <a:gd name="T10" fmla="*/ 120 w 377"/>
                <a:gd name="T11" fmla="*/ 0 h 213"/>
                <a:gd name="T12" fmla="*/ 68 w 377"/>
                <a:gd name="T13" fmla="*/ 30 h 213"/>
                <a:gd name="T14" fmla="*/ 13 w 377"/>
                <a:gd name="T15" fmla="*/ 154 h 213"/>
                <a:gd name="T16" fmla="*/ 65 w 377"/>
                <a:gd name="T17" fmla="*/ 213 h 213"/>
                <a:gd name="T18" fmla="*/ 185 w 377"/>
                <a:gd name="T19" fmla="*/ 213 h 213"/>
                <a:gd name="T20" fmla="*/ 192 w 377"/>
                <a:gd name="T21" fmla="*/ 213 h 213"/>
                <a:gd name="T22" fmla="*/ 312 w 377"/>
                <a:gd name="T23" fmla="*/ 213 h 213"/>
                <a:gd name="T24" fmla="*/ 365 w 377"/>
                <a:gd name="T25" fmla="*/ 154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7" h="213">
                  <a:moveTo>
                    <a:pt x="365" y="154"/>
                  </a:moveTo>
                  <a:cubicBezTo>
                    <a:pt x="310" y="30"/>
                    <a:pt x="310" y="30"/>
                    <a:pt x="310" y="30"/>
                  </a:cubicBezTo>
                  <a:cubicBezTo>
                    <a:pt x="302" y="12"/>
                    <a:pt x="281" y="0"/>
                    <a:pt x="25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96" y="0"/>
                    <a:pt x="75" y="12"/>
                    <a:pt x="68" y="30"/>
                  </a:cubicBezTo>
                  <a:cubicBezTo>
                    <a:pt x="13" y="154"/>
                    <a:pt x="13" y="154"/>
                    <a:pt x="13" y="154"/>
                  </a:cubicBezTo>
                  <a:cubicBezTo>
                    <a:pt x="0" y="183"/>
                    <a:pt x="27" y="213"/>
                    <a:pt x="65" y="213"/>
                  </a:cubicBezTo>
                  <a:cubicBezTo>
                    <a:pt x="185" y="213"/>
                    <a:pt x="185" y="213"/>
                    <a:pt x="185" y="213"/>
                  </a:cubicBezTo>
                  <a:cubicBezTo>
                    <a:pt x="192" y="213"/>
                    <a:pt x="192" y="213"/>
                    <a:pt x="192" y="213"/>
                  </a:cubicBezTo>
                  <a:cubicBezTo>
                    <a:pt x="312" y="213"/>
                    <a:pt x="312" y="213"/>
                    <a:pt x="312" y="213"/>
                  </a:cubicBezTo>
                  <a:cubicBezTo>
                    <a:pt x="350" y="213"/>
                    <a:pt x="377" y="183"/>
                    <a:pt x="365" y="154"/>
                  </a:cubicBezTo>
                  <a:close/>
                </a:path>
              </a:pathLst>
            </a:cu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5" name="işḻíḍé">
              <a:extLst>
                <a:ext uri="{FF2B5EF4-FFF2-40B4-BE49-F238E27FC236}">
                  <a16:creationId xmlns:a16="http://schemas.microsoft.com/office/drawing/2014/main" id="{1ADB9D3C-96A2-46FB-A786-A013523138CA}"/>
                </a:ext>
              </a:extLst>
            </p:cNvPr>
            <p:cNvSpPr/>
            <p:nvPr userDrawn="1"/>
          </p:nvSpPr>
          <p:spPr bwMode="auto">
            <a:xfrm>
              <a:off x="5611813" y="3451225"/>
              <a:ext cx="1001713" cy="1181100"/>
            </a:xfrm>
            <a:custGeom>
              <a:avLst/>
              <a:gdLst>
                <a:gd name="T0" fmla="*/ 216 w 272"/>
                <a:gd name="T1" fmla="*/ 321 h 321"/>
                <a:gd name="T2" fmla="*/ 57 w 272"/>
                <a:gd name="T3" fmla="*/ 321 h 321"/>
                <a:gd name="T4" fmla="*/ 0 w 272"/>
                <a:gd name="T5" fmla="*/ 265 h 321"/>
                <a:gd name="T6" fmla="*/ 0 w 272"/>
                <a:gd name="T7" fmla="*/ 56 h 321"/>
                <a:gd name="T8" fmla="*/ 57 w 272"/>
                <a:gd name="T9" fmla="*/ 0 h 321"/>
                <a:gd name="T10" fmla="*/ 216 w 272"/>
                <a:gd name="T11" fmla="*/ 0 h 321"/>
                <a:gd name="T12" fmla="*/ 272 w 272"/>
                <a:gd name="T13" fmla="*/ 56 h 321"/>
                <a:gd name="T14" fmla="*/ 272 w 272"/>
                <a:gd name="T15" fmla="*/ 265 h 321"/>
                <a:gd name="T16" fmla="*/ 216 w 272"/>
                <a:gd name="T17" fmla="*/ 32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2" h="321">
                  <a:moveTo>
                    <a:pt x="216" y="321"/>
                  </a:moveTo>
                  <a:cubicBezTo>
                    <a:pt x="57" y="321"/>
                    <a:pt x="57" y="321"/>
                    <a:pt x="57" y="321"/>
                  </a:cubicBezTo>
                  <a:cubicBezTo>
                    <a:pt x="25" y="321"/>
                    <a:pt x="0" y="296"/>
                    <a:pt x="0" y="2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25"/>
                    <a:pt x="25" y="0"/>
                    <a:pt x="57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47" y="0"/>
                    <a:pt x="272" y="25"/>
                    <a:pt x="272" y="56"/>
                  </a:cubicBezTo>
                  <a:cubicBezTo>
                    <a:pt x="272" y="265"/>
                    <a:pt x="272" y="265"/>
                    <a:pt x="272" y="265"/>
                  </a:cubicBezTo>
                  <a:cubicBezTo>
                    <a:pt x="272" y="296"/>
                    <a:pt x="247" y="321"/>
                    <a:pt x="216" y="321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6" name="ïṣľïḓè">
              <a:extLst>
                <a:ext uri="{FF2B5EF4-FFF2-40B4-BE49-F238E27FC236}">
                  <a16:creationId xmlns:a16="http://schemas.microsoft.com/office/drawing/2014/main" id="{20762A78-0255-406C-BC46-61DC0D1674CB}"/>
                </a:ext>
              </a:extLst>
            </p:cNvPr>
            <p:cNvSpPr/>
            <p:nvPr userDrawn="1"/>
          </p:nvSpPr>
          <p:spPr bwMode="auto">
            <a:xfrm>
              <a:off x="5659438" y="3451225"/>
              <a:ext cx="906463" cy="1111250"/>
            </a:xfrm>
            <a:custGeom>
              <a:avLst/>
              <a:gdLst>
                <a:gd name="T0" fmla="*/ 190 w 246"/>
                <a:gd name="T1" fmla="*/ 302 h 302"/>
                <a:gd name="T2" fmla="*/ 57 w 246"/>
                <a:gd name="T3" fmla="*/ 302 h 302"/>
                <a:gd name="T4" fmla="*/ 0 w 246"/>
                <a:gd name="T5" fmla="*/ 245 h 302"/>
                <a:gd name="T6" fmla="*/ 0 w 246"/>
                <a:gd name="T7" fmla="*/ 56 h 302"/>
                <a:gd name="T8" fmla="*/ 57 w 246"/>
                <a:gd name="T9" fmla="*/ 0 h 302"/>
                <a:gd name="T10" fmla="*/ 190 w 246"/>
                <a:gd name="T11" fmla="*/ 0 h 302"/>
                <a:gd name="T12" fmla="*/ 246 w 246"/>
                <a:gd name="T13" fmla="*/ 56 h 302"/>
                <a:gd name="T14" fmla="*/ 246 w 246"/>
                <a:gd name="T15" fmla="*/ 245 h 302"/>
                <a:gd name="T16" fmla="*/ 190 w 246"/>
                <a:gd name="T17" fmla="*/ 302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6" h="302">
                  <a:moveTo>
                    <a:pt x="190" y="302"/>
                  </a:moveTo>
                  <a:cubicBezTo>
                    <a:pt x="57" y="302"/>
                    <a:pt x="57" y="302"/>
                    <a:pt x="57" y="302"/>
                  </a:cubicBezTo>
                  <a:cubicBezTo>
                    <a:pt x="26" y="302"/>
                    <a:pt x="0" y="276"/>
                    <a:pt x="0" y="24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25"/>
                    <a:pt x="26" y="0"/>
                    <a:pt x="57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221" y="0"/>
                    <a:pt x="246" y="25"/>
                    <a:pt x="246" y="56"/>
                  </a:cubicBezTo>
                  <a:cubicBezTo>
                    <a:pt x="246" y="245"/>
                    <a:pt x="246" y="245"/>
                    <a:pt x="246" y="245"/>
                  </a:cubicBezTo>
                  <a:cubicBezTo>
                    <a:pt x="246" y="276"/>
                    <a:pt x="221" y="302"/>
                    <a:pt x="190" y="302"/>
                  </a:cubicBezTo>
                  <a:close/>
                </a:path>
              </a:pathLst>
            </a:cu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7" name="îšlídè">
              <a:extLst>
                <a:ext uri="{FF2B5EF4-FFF2-40B4-BE49-F238E27FC236}">
                  <a16:creationId xmlns:a16="http://schemas.microsoft.com/office/drawing/2014/main" id="{26DA3A76-D916-4ACF-BB4B-09703FA851A3}"/>
                </a:ext>
              </a:extLst>
            </p:cNvPr>
            <p:cNvSpPr/>
            <p:nvPr userDrawn="1"/>
          </p:nvSpPr>
          <p:spPr bwMode="auto">
            <a:xfrm>
              <a:off x="5643563" y="2725738"/>
              <a:ext cx="908050" cy="588963"/>
            </a:xfrm>
            <a:custGeom>
              <a:avLst/>
              <a:gdLst>
                <a:gd name="T0" fmla="*/ 190 w 246"/>
                <a:gd name="T1" fmla="*/ 160 h 160"/>
                <a:gd name="T2" fmla="*/ 57 w 246"/>
                <a:gd name="T3" fmla="*/ 160 h 160"/>
                <a:gd name="T4" fmla="*/ 0 w 246"/>
                <a:gd name="T5" fmla="*/ 104 h 160"/>
                <a:gd name="T6" fmla="*/ 0 w 246"/>
                <a:gd name="T7" fmla="*/ 57 h 160"/>
                <a:gd name="T8" fmla="*/ 57 w 246"/>
                <a:gd name="T9" fmla="*/ 0 h 160"/>
                <a:gd name="T10" fmla="*/ 190 w 246"/>
                <a:gd name="T11" fmla="*/ 0 h 160"/>
                <a:gd name="T12" fmla="*/ 246 w 246"/>
                <a:gd name="T13" fmla="*/ 57 h 160"/>
                <a:gd name="T14" fmla="*/ 246 w 246"/>
                <a:gd name="T15" fmla="*/ 104 h 160"/>
                <a:gd name="T16" fmla="*/ 190 w 246"/>
                <a:gd name="T17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6" h="160">
                  <a:moveTo>
                    <a:pt x="190" y="160"/>
                  </a:moveTo>
                  <a:cubicBezTo>
                    <a:pt x="57" y="160"/>
                    <a:pt x="57" y="160"/>
                    <a:pt x="57" y="160"/>
                  </a:cubicBezTo>
                  <a:cubicBezTo>
                    <a:pt x="26" y="160"/>
                    <a:pt x="0" y="135"/>
                    <a:pt x="0" y="104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26"/>
                    <a:pt x="26" y="0"/>
                    <a:pt x="57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221" y="0"/>
                    <a:pt x="246" y="26"/>
                    <a:pt x="246" y="57"/>
                  </a:cubicBezTo>
                  <a:cubicBezTo>
                    <a:pt x="246" y="104"/>
                    <a:pt x="246" y="104"/>
                    <a:pt x="246" y="104"/>
                  </a:cubicBezTo>
                  <a:cubicBezTo>
                    <a:pt x="246" y="135"/>
                    <a:pt x="221" y="160"/>
                    <a:pt x="190" y="160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8" name="ïṩḷídé">
              <a:extLst>
                <a:ext uri="{FF2B5EF4-FFF2-40B4-BE49-F238E27FC236}">
                  <a16:creationId xmlns:a16="http://schemas.microsoft.com/office/drawing/2014/main" id="{A677A730-02C2-487B-8977-4809A9059ABE}"/>
                </a:ext>
              </a:extLst>
            </p:cNvPr>
            <p:cNvSpPr/>
            <p:nvPr userDrawn="1"/>
          </p:nvSpPr>
          <p:spPr bwMode="auto">
            <a:xfrm>
              <a:off x="5703888" y="2747963"/>
              <a:ext cx="792163" cy="515938"/>
            </a:xfrm>
            <a:custGeom>
              <a:avLst/>
              <a:gdLst>
                <a:gd name="T0" fmla="*/ 169 w 215"/>
                <a:gd name="T1" fmla="*/ 140 h 140"/>
                <a:gd name="T2" fmla="*/ 45 w 215"/>
                <a:gd name="T3" fmla="*/ 140 h 140"/>
                <a:gd name="T4" fmla="*/ 0 w 215"/>
                <a:gd name="T5" fmla="*/ 95 h 140"/>
                <a:gd name="T6" fmla="*/ 0 w 215"/>
                <a:gd name="T7" fmla="*/ 46 h 140"/>
                <a:gd name="T8" fmla="*/ 45 w 215"/>
                <a:gd name="T9" fmla="*/ 0 h 140"/>
                <a:gd name="T10" fmla="*/ 169 w 215"/>
                <a:gd name="T11" fmla="*/ 0 h 140"/>
                <a:gd name="T12" fmla="*/ 215 w 215"/>
                <a:gd name="T13" fmla="*/ 46 h 140"/>
                <a:gd name="T14" fmla="*/ 215 w 215"/>
                <a:gd name="T15" fmla="*/ 95 h 140"/>
                <a:gd name="T16" fmla="*/ 169 w 215"/>
                <a:gd name="T17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5" h="140">
                  <a:moveTo>
                    <a:pt x="169" y="140"/>
                  </a:moveTo>
                  <a:cubicBezTo>
                    <a:pt x="45" y="140"/>
                    <a:pt x="45" y="140"/>
                    <a:pt x="45" y="140"/>
                  </a:cubicBezTo>
                  <a:cubicBezTo>
                    <a:pt x="20" y="140"/>
                    <a:pt x="0" y="120"/>
                    <a:pt x="0" y="95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20"/>
                    <a:pt x="20" y="0"/>
                    <a:pt x="45" y="0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94" y="0"/>
                    <a:pt x="215" y="20"/>
                    <a:pt x="215" y="46"/>
                  </a:cubicBezTo>
                  <a:cubicBezTo>
                    <a:pt x="215" y="95"/>
                    <a:pt x="215" y="95"/>
                    <a:pt x="215" y="95"/>
                  </a:cubicBezTo>
                  <a:cubicBezTo>
                    <a:pt x="215" y="120"/>
                    <a:pt x="194" y="140"/>
                    <a:pt x="169" y="140"/>
                  </a:cubicBezTo>
                  <a:close/>
                </a:path>
              </a:pathLst>
            </a:cu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9" name="íŝliḓè">
              <a:extLst>
                <a:ext uri="{FF2B5EF4-FFF2-40B4-BE49-F238E27FC236}">
                  <a16:creationId xmlns:a16="http://schemas.microsoft.com/office/drawing/2014/main" id="{DD6D326A-2354-4C03-AB6B-49C16EF157C8}"/>
                </a:ext>
              </a:extLst>
            </p:cNvPr>
            <p:cNvSpPr/>
            <p:nvPr userDrawn="1"/>
          </p:nvSpPr>
          <p:spPr bwMode="auto">
            <a:xfrm>
              <a:off x="5508625" y="4651375"/>
              <a:ext cx="1171575" cy="274638"/>
            </a:xfrm>
            <a:prstGeom prst="ellipse">
              <a:avLst/>
            </a:pr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0" name="ïSľíḋê">
              <a:extLst>
                <a:ext uri="{FF2B5EF4-FFF2-40B4-BE49-F238E27FC236}">
                  <a16:creationId xmlns:a16="http://schemas.microsoft.com/office/drawing/2014/main" id="{40A34E5A-796D-4746-AB6A-658AAC78E751}"/>
                </a:ext>
              </a:extLst>
            </p:cNvPr>
            <p:cNvSpPr/>
            <p:nvPr userDrawn="1"/>
          </p:nvSpPr>
          <p:spPr bwMode="auto">
            <a:xfrm>
              <a:off x="5643563" y="4651375"/>
              <a:ext cx="896938" cy="69850"/>
            </a:xfrm>
            <a:custGeom>
              <a:avLst/>
              <a:gdLst>
                <a:gd name="T0" fmla="*/ 0 w 243"/>
                <a:gd name="T1" fmla="*/ 14 h 19"/>
                <a:gd name="T2" fmla="*/ 122 w 243"/>
                <a:gd name="T3" fmla="*/ 19 h 19"/>
                <a:gd name="T4" fmla="*/ 243 w 243"/>
                <a:gd name="T5" fmla="*/ 14 h 19"/>
                <a:gd name="T6" fmla="*/ 122 w 243"/>
                <a:gd name="T7" fmla="*/ 0 h 19"/>
                <a:gd name="T8" fmla="*/ 0 w 243"/>
                <a:gd name="T9" fmla="*/ 1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3" h="19">
                  <a:moveTo>
                    <a:pt x="0" y="14"/>
                  </a:moveTo>
                  <a:cubicBezTo>
                    <a:pt x="30" y="17"/>
                    <a:pt x="73" y="19"/>
                    <a:pt x="122" y="19"/>
                  </a:cubicBezTo>
                  <a:cubicBezTo>
                    <a:pt x="171" y="19"/>
                    <a:pt x="214" y="17"/>
                    <a:pt x="243" y="14"/>
                  </a:cubicBezTo>
                  <a:cubicBezTo>
                    <a:pt x="214" y="6"/>
                    <a:pt x="171" y="0"/>
                    <a:pt x="122" y="0"/>
                  </a:cubicBezTo>
                  <a:cubicBezTo>
                    <a:pt x="73" y="0"/>
                    <a:pt x="30" y="6"/>
                    <a:pt x="0" y="14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1" name="íšļiḑê">
              <a:extLst>
                <a:ext uri="{FF2B5EF4-FFF2-40B4-BE49-F238E27FC236}">
                  <a16:creationId xmlns:a16="http://schemas.microsoft.com/office/drawing/2014/main" id="{BF761B53-9819-4981-B06C-5F03C421569A}"/>
                </a:ext>
              </a:extLst>
            </p:cNvPr>
            <p:cNvSpPr/>
            <p:nvPr userDrawn="1"/>
          </p:nvSpPr>
          <p:spPr bwMode="auto">
            <a:xfrm>
              <a:off x="6035675" y="4926013"/>
              <a:ext cx="109538" cy="0"/>
            </a:xfrm>
            <a:custGeom>
              <a:avLst/>
              <a:gdLst>
                <a:gd name="T0" fmla="*/ 16 w 30"/>
                <a:gd name="T1" fmla="*/ 15 w 30"/>
                <a:gd name="T2" fmla="*/ 17 w 30"/>
                <a:gd name="T3" fmla="*/ 17 w 30"/>
                <a:gd name="T4" fmla="*/ 17 w 30"/>
                <a:gd name="T5" fmla="*/ 15 w 30"/>
                <a:gd name="T6" fmla="*/ 15 w 30"/>
                <a:gd name="T7" fmla="*/ 14 w 30"/>
                <a:gd name="T8" fmla="*/ 18 w 30"/>
                <a:gd name="T9" fmla="*/ 18 w 30"/>
                <a:gd name="T10" fmla="*/ 19 w 30"/>
                <a:gd name="T11" fmla="*/ 13 w 30"/>
                <a:gd name="T12" fmla="*/ 13 w 30"/>
                <a:gd name="T13" fmla="*/ 13 w 30"/>
                <a:gd name="T14" fmla="*/ 19 w 30"/>
                <a:gd name="T15" fmla="*/ 19 w 30"/>
                <a:gd name="T16" fmla="*/ 20 w 30"/>
                <a:gd name="T17" fmla="*/ 12 w 30"/>
                <a:gd name="T18" fmla="*/ 12 w 30"/>
                <a:gd name="T19" fmla="*/ 11 w 30"/>
                <a:gd name="T20" fmla="*/ 21 w 30"/>
                <a:gd name="T21" fmla="*/ 21 w 30"/>
                <a:gd name="T22" fmla="*/ 21 w 30"/>
                <a:gd name="T23" fmla="*/ 11 w 30"/>
                <a:gd name="T24" fmla="*/ 10 w 30"/>
                <a:gd name="T25" fmla="*/ 10 w 30"/>
                <a:gd name="T26" fmla="*/ 22 w 30"/>
                <a:gd name="T27" fmla="*/ 22 w 30"/>
                <a:gd name="T28" fmla="*/ 22 w 30"/>
                <a:gd name="T29" fmla="*/ 9 w 30"/>
                <a:gd name="T30" fmla="*/ 9 w 30"/>
                <a:gd name="T31" fmla="*/ 9 w 30"/>
                <a:gd name="T32" fmla="*/ 23 w 30"/>
                <a:gd name="T33" fmla="*/ 23 w 30"/>
                <a:gd name="T34" fmla="*/ 24 w 30"/>
                <a:gd name="T35" fmla="*/ 8 w 30"/>
                <a:gd name="T36" fmla="*/ 8 w 30"/>
                <a:gd name="T37" fmla="*/ 7 w 30"/>
                <a:gd name="T38" fmla="*/ 24 w 30"/>
                <a:gd name="T39" fmla="*/ 25 w 30"/>
                <a:gd name="T40" fmla="*/ 25 w 30"/>
                <a:gd name="T41" fmla="*/ 7 w 30"/>
                <a:gd name="T42" fmla="*/ 25 w 30"/>
                <a:gd name="T43" fmla="*/ 26 w 30"/>
                <a:gd name="T44" fmla="*/ 6 w 30"/>
                <a:gd name="T45" fmla="*/ 6 w 30"/>
                <a:gd name="T46" fmla="*/ 5 w 30"/>
                <a:gd name="T47" fmla="*/ 26 w 30"/>
                <a:gd name="T48" fmla="*/ 27 w 30"/>
                <a:gd name="T49" fmla="*/ 4 w 30"/>
                <a:gd name="T50" fmla="*/ 28 w 30"/>
                <a:gd name="T51" fmla="*/ 28 w 30"/>
                <a:gd name="T52" fmla="*/ 28 w 30"/>
                <a:gd name="T53" fmla="*/ 4 w 30"/>
                <a:gd name="T54" fmla="*/ 3 w 30"/>
                <a:gd name="T55" fmla="*/ 2 w 30"/>
                <a:gd name="T56" fmla="*/ 2 w 30"/>
                <a:gd name="T57" fmla="*/ 2 w 30"/>
                <a:gd name="T58" fmla="*/ 2 w 30"/>
                <a:gd name="T59" fmla="*/ 1 w 30"/>
                <a:gd name="T60" fmla="*/ 0 w 3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  <a:cxn ang="0">
                  <a:pos x="T12" y="0"/>
                </a:cxn>
                <a:cxn ang="0">
                  <a:pos x="T13" y="0"/>
                </a:cxn>
                <a:cxn ang="0">
                  <a:pos x="T14" y="0"/>
                </a:cxn>
                <a:cxn ang="0">
                  <a:pos x="T15" y="0"/>
                </a:cxn>
                <a:cxn ang="0">
                  <a:pos x="T16" y="0"/>
                </a:cxn>
                <a:cxn ang="0">
                  <a:pos x="T17" y="0"/>
                </a:cxn>
                <a:cxn ang="0">
                  <a:pos x="T18" y="0"/>
                </a:cxn>
                <a:cxn ang="0">
                  <a:pos x="T19" y="0"/>
                </a:cxn>
                <a:cxn ang="0">
                  <a:pos x="T20" y="0"/>
                </a:cxn>
                <a:cxn ang="0">
                  <a:pos x="T21" y="0"/>
                </a:cxn>
                <a:cxn ang="0">
                  <a:pos x="T22" y="0"/>
                </a:cxn>
                <a:cxn ang="0">
                  <a:pos x="T23" y="0"/>
                </a:cxn>
                <a:cxn ang="0">
                  <a:pos x="T24" y="0"/>
                </a:cxn>
                <a:cxn ang="0">
                  <a:pos x="T25" y="0"/>
                </a:cxn>
                <a:cxn ang="0">
                  <a:pos x="T26" y="0"/>
                </a:cxn>
                <a:cxn ang="0">
                  <a:pos x="T27" y="0"/>
                </a:cxn>
                <a:cxn ang="0">
                  <a:pos x="T28" y="0"/>
                </a:cxn>
                <a:cxn ang="0">
                  <a:pos x="T29" y="0"/>
                </a:cxn>
                <a:cxn ang="0">
                  <a:pos x="T30" y="0"/>
                </a:cxn>
                <a:cxn ang="0">
                  <a:pos x="T31" y="0"/>
                </a:cxn>
                <a:cxn ang="0">
                  <a:pos x="T32" y="0"/>
                </a:cxn>
                <a:cxn ang="0">
                  <a:pos x="T33" y="0"/>
                </a:cxn>
                <a:cxn ang="0">
                  <a:pos x="T34" y="0"/>
                </a:cxn>
                <a:cxn ang="0">
                  <a:pos x="T35" y="0"/>
                </a:cxn>
                <a:cxn ang="0">
                  <a:pos x="T36" y="0"/>
                </a:cxn>
                <a:cxn ang="0">
                  <a:pos x="T37" y="0"/>
                </a:cxn>
                <a:cxn ang="0">
                  <a:pos x="T38" y="0"/>
                </a:cxn>
                <a:cxn ang="0">
                  <a:pos x="T39" y="0"/>
                </a:cxn>
                <a:cxn ang="0">
                  <a:pos x="T40" y="0"/>
                </a:cxn>
                <a:cxn ang="0">
                  <a:pos x="T41" y="0"/>
                </a:cxn>
                <a:cxn ang="0">
                  <a:pos x="T42" y="0"/>
                </a:cxn>
                <a:cxn ang="0">
                  <a:pos x="T43" y="0"/>
                </a:cxn>
                <a:cxn ang="0">
                  <a:pos x="T44" y="0"/>
                </a:cxn>
                <a:cxn ang="0">
                  <a:pos x="T45" y="0"/>
                </a:cxn>
                <a:cxn ang="0">
                  <a:pos x="T46" y="0"/>
                </a:cxn>
                <a:cxn ang="0">
                  <a:pos x="T47" y="0"/>
                </a:cxn>
                <a:cxn ang="0">
                  <a:pos x="T48" y="0"/>
                </a:cxn>
                <a:cxn ang="0">
                  <a:pos x="T49" y="0"/>
                </a:cxn>
                <a:cxn ang="0">
                  <a:pos x="T50" y="0"/>
                </a:cxn>
                <a:cxn ang="0">
                  <a:pos x="T51" y="0"/>
                </a:cxn>
                <a:cxn ang="0">
                  <a:pos x="T52" y="0"/>
                </a:cxn>
                <a:cxn ang="0">
                  <a:pos x="T53" y="0"/>
                </a:cxn>
                <a:cxn ang="0">
                  <a:pos x="T54" y="0"/>
                </a:cxn>
                <a:cxn ang="0">
                  <a:pos x="T55" y="0"/>
                </a:cxn>
                <a:cxn ang="0">
                  <a:pos x="T56" y="0"/>
                </a:cxn>
                <a:cxn ang="0">
                  <a:pos x="T57" y="0"/>
                </a:cxn>
                <a:cxn ang="0">
                  <a:pos x="T58" y="0"/>
                </a:cxn>
                <a:cxn ang="0">
                  <a:pos x="T59" y="0"/>
                </a:cxn>
                <a:cxn ang="0">
                  <a:pos x="T60" y="0"/>
                </a:cxn>
              </a:cxnLst>
              <a:rect l="0" t="0" r="r" b="b"/>
              <a:pathLst>
                <a:path w="30"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6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6" y="0"/>
                    <a:pt x="16" y="0"/>
                  </a:cubicBezTo>
                  <a:cubicBezTo>
                    <a:pt x="16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5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7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8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19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9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8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8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7" y="0"/>
                  </a:moveTo>
                  <a:cubicBezTo>
                    <a:pt x="7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25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25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5" y="0"/>
                  </a:moveTo>
                  <a:cubicBezTo>
                    <a:pt x="5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moveTo>
                    <a:pt x="27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7" y="0"/>
                    <a:pt x="27" y="0"/>
                  </a:cubicBezTo>
                  <a:cubicBezTo>
                    <a:pt x="27" y="0"/>
                    <a:pt x="27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29" y="0"/>
                  </a:moveTo>
                  <a:cubicBezTo>
                    <a:pt x="29" y="0"/>
                    <a:pt x="29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30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30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77BF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2" name="îşļiḓè">
              <a:extLst>
                <a:ext uri="{FF2B5EF4-FFF2-40B4-BE49-F238E27FC236}">
                  <a16:creationId xmlns:a16="http://schemas.microsoft.com/office/drawing/2014/main" id="{75FEF938-8AAF-47B1-9CFA-F7B86EBBBE0C}"/>
                </a:ext>
              </a:extLst>
            </p:cNvPr>
            <p:cNvSpPr/>
            <p:nvPr userDrawn="1"/>
          </p:nvSpPr>
          <p:spPr bwMode="auto">
            <a:xfrm>
              <a:off x="5518150" y="4816475"/>
              <a:ext cx="1150938" cy="109538"/>
            </a:xfrm>
            <a:custGeom>
              <a:avLst/>
              <a:gdLst>
                <a:gd name="T0" fmla="*/ 140 w 312"/>
                <a:gd name="T1" fmla="*/ 30 h 30"/>
                <a:gd name="T2" fmla="*/ 142 w 312"/>
                <a:gd name="T3" fmla="*/ 30 h 30"/>
                <a:gd name="T4" fmla="*/ 142 w 312"/>
                <a:gd name="T5" fmla="*/ 30 h 30"/>
                <a:gd name="T6" fmla="*/ 142 w 312"/>
                <a:gd name="T7" fmla="*/ 30 h 30"/>
                <a:gd name="T8" fmla="*/ 144 w 312"/>
                <a:gd name="T9" fmla="*/ 30 h 30"/>
                <a:gd name="T10" fmla="*/ 144 w 312"/>
                <a:gd name="T11" fmla="*/ 30 h 30"/>
                <a:gd name="T12" fmla="*/ 144 w 312"/>
                <a:gd name="T13" fmla="*/ 30 h 30"/>
                <a:gd name="T14" fmla="*/ 145 w 312"/>
                <a:gd name="T15" fmla="*/ 30 h 30"/>
                <a:gd name="T16" fmla="*/ 146 w 312"/>
                <a:gd name="T17" fmla="*/ 30 h 30"/>
                <a:gd name="T18" fmla="*/ 146 w 312"/>
                <a:gd name="T19" fmla="*/ 30 h 30"/>
                <a:gd name="T20" fmla="*/ 147 w 312"/>
                <a:gd name="T21" fmla="*/ 30 h 30"/>
                <a:gd name="T22" fmla="*/ 147 w 312"/>
                <a:gd name="T23" fmla="*/ 30 h 30"/>
                <a:gd name="T24" fmla="*/ 148 w 312"/>
                <a:gd name="T25" fmla="*/ 30 h 30"/>
                <a:gd name="T26" fmla="*/ 148 w 312"/>
                <a:gd name="T27" fmla="*/ 30 h 30"/>
                <a:gd name="T28" fmla="*/ 149 w 312"/>
                <a:gd name="T29" fmla="*/ 30 h 30"/>
                <a:gd name="T30" fmla="*/ 149 w 312"/>
                <a:gd name="T31" fmla="*/ 30 h 30"/>
                <a:gd name="T32" fmla="*/ 150 w 312"/>
                <a:gd name="T33" fmla="*/ 30 h 30"/>
                <a:gd name="T34" fmla="*/ 150 w 312"/>
                <a:gd name="T35" fmla="*/ 30 h 30"/>
                <a:gd name="T36" fmla="*/ 151 w 312"/>
                <a:gd name="T37" fmla="*/ 30 h 30"/>
                <a:gd name="T38" fmla="*/ 151 w 312"/>
                <a:gd name="T39" fmla="*/ 30 h 30"/>
                <a:gd name="T40" fmla="*/ 152 w 312"/>
                <a:gd name="T41" fmla="*/ 30 h 30"/>
                <a:gd name="T42" fmla="*/ 152 w 312"/>
                <a:gd name="T43" fmla="*/ 30 h 30"/>
                <a:gd name="T44" fmla="*/ 153 w 312"/>
                <a:gd name="T45" fmla="*/ 30 h 30"/>
                <a:gd name="T46" fmla="*/ 153 w 312"/>
                <a:gd name="T47" fmla="*/ 30 h 30"/>
                <a:gd name="T48" fmla="*/ 154 w 312"/>
                <a:gd name="T49" fmla="*/ 30 h 30"/>
                <a:gd name="T50" fmla="*/ 155 w 312"/>
                <a:gd name="T51" fmla="*/ 30 h 30"/>
                <a:gd name="T52" fmla="*/ 155 w 312"/>
                <a:gd name="T53" fmla="*/ 30 h 30"/>
                <a:gd name="T54" fmla="*/ 156 w 312"/>
                <a:gd name="T55" fmla="*/ 30 h 30"/>
                <a:gd name="T56" fmla="*/ 156 w 312"/>
                <a:gd name="T57" fmla="*/ 30 h 30"/>
                <a:gd name="T58" fmla="*/ 157 w 312"/>
                <a:gd name="T59" fmla="*/ 30 h 30"/>
                <a:gd name="T60" fmla="*/ 157 w 312"/>
                <a:gd name="T61" fmla="*/ 30 h 30"/>
                <a:gd name="T62" fmla="*/ 158 w 312"/>
                <a:gd name="T63" fmla="*/ 30 h 30"/>
                <a:gd name="T64" fmla="*/ 158 w 312"/>
                <a:gd name="T65" fmla="*/ 30 h 30"/>
                <a:gd name="T66" fmla="*/ 159 w 312"/>
                <a:gd name="T67" fmla="*/ 30 h 30"/>
                <a:gd name="T68" fmla="*/ 159 w 312"/>
                <a:gd name="T69" fmla="*/ 30 h 30"/>
                <a:gd name="T70" fmla="*/ 160 w 312"/>
                <a:gd name="T71" fmla="*/ 30 h 30"/>
                <a:gd name="T72" fmla="*/ 161 w 312"/>
                <a:gd name="T73" fmla="*/ 30 h 30"/>
                <a:gd name="T74" fmla="*/ 161 w 312"/>
                <a:gd name="T75" fmla="*/ 30 h 30"/>
                <a:gd name="T76" fmla="*/ 162 w 312"/>
                <a:gd name="T77" fmla="*/ 30 h 30"/>
                <a:gd name="T78" fmla="*/ 162 w 312"/>
                <a:gd name="T79" fmla="*/ 30 h 30"/>
                <a:gd name="T80" fmla="*/ 163 w 312"/>
                <a:gd name="T81" fmla="*/ 30 h 30"/>
                <a:gd name="T82" fmla="*/ 163 w 312"/>
                <a:gd name="T83" fmla="*/ 30 h 30"/>
                <a:gd name="T84" fmla="*/ 164 w 312"/>
                <a:gd name="T85" fmla="*/ 30 h 30"/>
                <a:gd name="T86" fmla="*/ 164 w 312"/>
                <a:gd name="T87" fmla="*/ 30 h 30"/>
                <a:gd name="T88" fmla="*/ 165 w 312"/>
                <a:gd name="T89" fmla="*/ 30 h 30"/>
                <a:gd name="T90" fmla="*/ 165 w 312"/>
                <a:gd name="T91" fmla="*/ 30 h 30"/>
                <a:gd name="T92" fmla="*/ 166 w 312"/>
                <a:gd name="T93" fmla="*/ 30 h 30"/>
                <a:gd name="T94" fmla="*/ 166 w 312"/>
                <a:gd name="T95" fmla="*/ 30 h 30"/>
                <a:gd name="T96" fmla="*/ 167 w 312"/>
                <a:gd name="T97" fmla="*/ 30 h 30"/>
                <a:gd name="T98" fmla="*/ 168 w 312"/>
                <a:gd name="T99" fmla="*/ 30 h 30"/>
                <a:gd name="T100" fmla="*/ 170 w 312"/>
                <a:gd name="T101" fmla="*/ 30 h 30"/>
                <a:gd name="T102" fmla="*/ 312 w 312"/>
                <a:gd name="T10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12" h="30">
                  <a:moveTo>
                    <a:pt x="31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3" y="16"/>
                    <a:pt x="70" y="28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1" y="30"/>
                    <a:pt x="141" y="30"/>
                    <a:pt x="141" y="30"/>
                  </a:cubicBezTo>
                  <a:cubicBezTo>
                    <a:pt x="141" y="30"/>
                    <a:pt x="141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7" y="30"/>
                    <a:pt x="167" y="30"/>
                  </a:cubicBezTo>
                  <a:cubicBezTo>
                    <a:pt x="167" y="30"/>
                    <a:pt x="167" y="30"/>
                    <a:pt x="167" y="30"/>
                  </a:cubicBezTo>
                  <a:cubicBezTo>
                    <a:pt x="167" y="30"/>
                    <a:pt x="167" y="30"/>
                    <a:pt x="167" y="30"/>
                  </a:cubicBezTo>
                  <a:cubicBezTo>
                    <a:pt x="167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9" y="30"/>
                    <a:pt x="169" y="30"/>
                  </a:cubicBezTo>
                  <a:cubicBezTo>
                    <a:pt x="169" y="30"/>
                    <a:pt x="169" y="30"/>
                    <a:pt x="169" y="30"/>
                  </a:cubicBezTo>
                  <a:cubicBezTo>
                    <a:pt x="169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241" y="29"/>
                    <a:pt x="298" y="16"/>
                    <a:pt x="312" y="0"/>
                  </a:cubicBezTo>
                </a:path>
              </a:pathLst>
            </a:custGeom>
            <a:solidFill>
              <a:srgbClr val="134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3" name="ïṥḻïḋê">
              <a:extLst>
                <a:ext uri="{FF2B5EF4-FFF2-40B4-BE49-F238E27FC236}">
                  <a16:creationId xmlns:a16="http://schemas.microsoft.com/office/drawing/2014/main" id="{761C5328-12F1-4870-9D49-FC4F1FD7F95C}"/>
                </a:ext>
              </a:extLst>
            </p:cNvPr>
            <p:cNvSpPr/>
            <p:nvPr userDrawn="1"/>
          </p:nvSpPr>
          <p:spPr bwMode="auto">
            <a:xfrm>
              <a:off x="6005513" y="4116388"/>
              <a:ext cx="173038" cy="1495425"/>
            </a:xfrm>
            <a:custGeom>
              <a:avLst/>
              <a:gdLst>
                <a:gd name="T0" fmla="*/ 47 w 47"/>
                <a:gd name="T1" fmla="*/ 406 h 406"/>
                <a:gd name="T2" fmla="*/ 0 w 47"/>
                <a:gd name="T3" fmla="*/ 406 h 406"/>
                <a:gd name="T4" fmla="*/ 0 w 47"/>
                <a:gd name="T5" fmla="*/ 24 h 406"/>
                <a:gd name="T6" fmla="*/ 24 w 47"/>
                <a:gd name="T7" fmla="*/ 0 h 406"/>
                <a:gd name="T8" fmla="*/ 47 w 47"/>
                <a:gd name="T9" fmla="*/ 24 h 406"/>
                <a:gd name="T10" fmla="*/ 47 w 47"/>
                <a:gd name="T11" fmla="*/ 406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" h="406">
                  <a:moveTo>
                    <a:pt x="47" y="406"/>
                  </a:moveTo>
                  <a:cubicBezTo>
                    <a:pt x="0" y="406"/>
                    <a:pt x="0" y="406"/>
                    <a:pt x="0" y="40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7" y="11"/>
                    <a:pt x="47" y="24"/>
                  </a:cubicBezTo>
                  <a:lnTo>
                    <a:pt x="47" y="406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6" name="işḻíḓé">
              <a:extLst>
                <a:ext uri="{FF2B5EF4-FFF2-40B4-BE49-F238E27FC236}">
                  <a16:creationId xmlns:a16="http://schemas.microsoft.com/office/drawing/2014/main" id="{800FAB39-622F-44D6-8F88-A5A46160EC15}"/>
                </a:ext>
              </a:extLst>
            </p:cNvPr>
            <p:cNvSpPr/>
            <p:nvPr userDrawn="1"/>
          </p:nvSpPr>
          <p:spPr bwMode="auto">
            <a:xfrm>
              <a:off x="6030913" y="2868613"/>
              <a:ext cx="122238" cy="1270000"/>
            </a:xfrm>
            <a:custGeom>
              <a:avLst/>
              <a:gdLst>
                <a:gd name="T0" fmla="*/ 33 w 33"/>
                <a:gd name="T1" fmla="*/ 345 h 345"/>
                <a:gd name="T2" fmla="*/ 0 w 33"/>
                <a:gd name="T3" fmla="*/ 345 h 345"/>
                <a:gd name="T4" fmla="*/ 0 w 33"/>
                <a:gd name="T5" fmla="*/ 17 h 345"/>
                <a:gd name="T6" fmla="*/ 17 w 33"/>
                <a:gd name="T7" fmla="*/ 0 h 345"/>
                <a:gd name="T8" fmla="*/ 33 w 33"/>
                <a:gd name="T9" fmla="*/ 17 h 345"/>
                <a:gd name="T10" fmla="*/ 33 w 33"/>
                <a:gd name="T11" fmla="*/ 345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345">
                  <a:moveTo>
                    <a:pt x="33" y="345"/>
                  </a:moveTo>
                  <a:cubicBezTo>
                    <a:pt x="0" y="345"/>
                    <a:pt x="0" y="345"/>
                    <a:pt x="0" y="345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6" y="0"/>
                    <a:pt x="33" y="8"/>
                    <a:pt x="33" y="17"/>
                  </a:cubicBezTo>
                  <a:lnTo>
                    <a:pt x="33" y="345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7" name="íṧḷidé">
              <a:extLst>
                <a:ext uri="{FF2B5EF4-FFF2-40B4-BE49-F238E27FC236}">
                  <a16:creationId xmlns:a16="http://schemas.microsoft.com/office/drawing/2014/main" id="{ABDDBA1D-771A-4AEA-A275-7714B58A5CDE}"/>
                </a:ext>
              </a:extLst>
            </p:cNvPr>
            <p:cNvSpPr/>
            <p:nvPr userDrawn="1"/>
          </p:nvSpPr>
          <p:spPr bwMode="auto">
            <a:xfrm>
              <a:off x="5383213" y="5600700"/>
              <a:ext cx="471488" cy="184150"/>
            </a:xfrm>
            <a:custGeom>
              <a:avLst/>
              <a:gdLst>
                <a:gd name="T0" fmla="*/ 128 w 128"/>
                <a:gd name="T1" fmla="*/ 0 h 50"/>
                <a:gd name="T2" fmla="*/ 66 w 128"/>
                <a:gd name="T3" fmla="*/ 0 h 50"/>
                <a:gd name="T4" fmla="*/ 0 w 128"/>
                <a:gd name="T5" fmla="*/ 50 h 50"/>
                <a:gd name="T6" fmla="*/ 128 w 128"/>
                <a:gd name="T7" fmla="*/ 50 h 50"/>
                <a:gd name="T8" fmla="*/ 128 w 128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50">
                  <a:moveTo>
                    <a:pt x="128" y="0"/>
                  </a:moveTo>
                  <a:cubicBezTo>
                    <a:pt x="66" y="0"/>
                    <a:pt x="66" y="0"/>
                    <a:pt x="66" y="0"/>
                  </a:cubicBezTo>
                  <a:cubicBezTo>
                    <a:pt x="66" y="0"/>
                    <a:pt x="0" y="6"/>
                    <a:pt x="0" y="50"/>
                  </a:cubicBezTo>
                  <a:cubicBezTo>
                    <a:pt x="128" y="50"/>
                    <a:pt x="128" y="50"/>
                    <a:pt x="128" y="50"/>
                  </a:cubicBezTo>
                  <a:lnTo>
                    <a:pt x="128" y="0"/>
                  </a:lnTo>
                  <a:close/>
                </a:path>
              </a:pathLst>
            </a:custGeom>
            <a:solidFill>
              <a:srgbClr val="331D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8" name="i$ḷîde">
              <a:extLst>
                <a:ext uri="{FF2B5EF4-FFF2-40B4-BE49-F238E27FC236}">
                  <a16:creationId xmlns:a16="http://schemas.microsoft.com/office/drawing/2014/main" id="{9464BA44-5546-4BFF-81AB-C9EB3BBBDEC1}"/>
                </a:ext>
              </a:extLst>
            </p:cNvPr>
            <p:cNvSpPr/>
            <p:nvPr userDrawn="1"/>
          </p:nvSpPr>
          <p:spPr bwMode="auto">
            <a:xfrm>
              <a:off x="5268913" y="4138613"/>
              <a:ext cx="825500" cy="825500"/>
            </a:xfrm>
            <a:custGeom>
              <a:avLst/>
              <a:gdLst>
                <a:gd name="T0" fmla="*/ 222 w 224"/>
                <a:gd name="T1" fmla="*/ 209 h 224"/>
                <a:gd name="T2" fmla="*/ 85 w 224"/>
                <a:gd name="T3" fmla="*/ 193 h 224"/>
                <a:gd name="T4" fmla="*/ 49 w 224"/>
                <a:gd name="T5" fmla="*/ 22 h 224"/>
                <a:gd name="T6" fmla="*/ 85 w 224"/>
                <a:gd name="T7" fmla="*/ 11 h 224"/>
                <a:gd name="T8" fmla="*/ 42 w 224"/>
                <a:gd name="T9" fmla="*/ 0 h 224"/>
                <a:gd name="T10" fmla="*/ 0 w 224"/>
                <a:gd name="T11" fmla="*/ 11 h 224"/>
                <a:gd name="T12" fmla="*/ 31 w 224"/>
                <a:gd name="T13" fmla="*/ 21 h 224"/>
                <a:gd name="T14" fmla="*/ 79 w 224"/>
                <a:gd name="T15" fmla="*/ 207 h 224"/>
                <a:gd name="T16" fmla="*/ 200 w 224"/>
                <a:gd name="T17" fmla="*/ 224 h 224"/>
                <a:gd name="T18" fmla="*/ 224 w 224"/>
                <a:gd name="T19" fmla="*/ 224 h 224"/>
                <a:gd name="T20" fmla="*/ 222 w 224"/>
                <a:gd name="T21" fmla="*/ 209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4" h="224">
                  <a:moveTo>
                    <a:pt x="222" y="209"/>
                  </a:moveTo>
                  <a:cubicBezTo>
                    <a:pt x="221" y="209"/>
                    <a:pt x="157" y="214"/>
                    <a:pt x="85" y="193"/>
                  </a:cubicBezTo>
                  <a:cubicBezTo>
                    <a:pt x="34" y="178"/>
                    <a:pt x="41" y="72"/>
                    <a:pt x="49" y="22"/>
                  </a:cubicBezTo>
                  <a:cubicBezTo>
                    <a:pt x="69" y="21"/>
                    <a:pt x="85" y="16"/>
                    <a:pt x="85" y="11"/>
                  </a:cubicBezTo>
                  <a:cubicBezTo>
                    <a:pt x="85" y="5"/>
                    <a:pt x="66" y="0"/>
                    <a:pt x="42" y="0"/>
                  </a:cubicBezTo>
                  <a:cubicBezTo>
                    <a:pt x="19" y="0"/>
                    <a:pt x="0" y="5"/>
                    <a:pt x="0" y="11"/>
                  </a:cubicBezTo>
                  <a:cubicBezTo>
                    <a:pt x="0" y="16"/>
                    <a:pt x="13" y="20"/>
                    <a:pt x="31" y="21"/>
                  </a:cubicBezTo>
                  <a:cubicBezTo>
                    <a:pt x="25" y="61"/>
                    <a:pt x="11" y="187"/>
                    <a:pt x="79" y="207"/>
                  </a:cubicBezTo>
                  <a:cubicBezTo>
                    <a:pt x="128" y="222"/>
                    <a:pt x="174" y="224"/>
                    <a:pt x="200" y="224"/>
                  </a:cubicBezTo>
                  <a:cubicBezTo>
                    <a:pt x="214" y="224"/>
                    <a:pt x="223" y="224"/>
                    <a:pt x="224" y="224"/>
                  </a:cubicBezTo>
                  <a:lnTo>
                    <a:pt x="222" y="209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9" name="ïşḻïḓe">
              <a:extLst>
                <a:ext uri="{FF2B5EF4-FFF2-40B4-BE49-F238E27FC236}">
                  <a16:creationId xmlns:a16="http://schemas.microsoft.com/office/drawing/2014/main" id="{1901A403-0731-4E76-92DF-03729A93EFB7}"/>
                </a:ext>
              </a:extLst>
            </p:cNvPr>
            <p:cNvSpPr/>
            <p:nvPr userDrawn="1"/>
          </p:nvSpPr>
          <p:spPr bwMode="auto">
            <a:xfrm>
              <a:off x="6119813" y="4138613"/>
              <a:ext cx="822325" cy="825500"/>
            </a:xfrm>
            <a:custGeom>
              <a:avLst/>
              <a:gdLst>
                <a:gd name="T0" fmla="*/ 2 w 223"/>
                <a:gd name="T1" fmla="*/ 209 h 224"/>
                <a:gd name="T2" fmla="*/ 138 w 223"/>
                <a:gd name="T3" fmla="*/ 193 h 224"/>
                <a:gd name="T4" fmla="*/ 175 w 223"/>
                <a:gd name="T5" fmla="*/ 22 h 224"/>
                <a:gd name="T6" fmla="*/ 139 w 223"/>
                <a:gd name="T7" fmla="*/ 11 h 224"/>
                <a:gd name="T8" fmla="*/ 181 w 223"/>
                <a:gd name="T9" fmla="*/ 0 h 224"/>
                <a:gd name="T10" fmla="*/ 223 w 223"/>
                <a:gd name="T11" fmla="*/ 11 h 224"/>
                <a:gd name="T12" fmla="*/ 193 w 223"/>
                <a:gd name="T13" fmla="*/ 21 h 224"/>
                <a:gd name="T14" fmla="*/ 144 w 223"/>
                <a:gd name="T15" fmla="*/ 207 h 224"/>
                <a:gd name="T16" fmla="*/ 24 w 223"/>
                <a:gd name="T17" fmla="*/ 224 h 224"/>
                <a:gd name="T18" fmla="*/ 0 w 223"/>
                <a:gd name="T19" fmla="*/ 224 h 224"/>
                <a:gd name="T20" fmla="*/ 2 w 223"/>
                <a:gd name="T21" fmla="*/ 209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3" h="224">
                  <a:moveTo>
                    <a:pt x="2" y="209"/>
                  </a:moveTo>
                  <a:cubicBezTo>
                    <a:pt x="2" y="209"/>
                    <a:pt x="67" y="214"/>
                    <a:pt x="138" y="193"/>
                  </a:cubicBezTo>
                  <a:cubicBezTo>
                    <a:pt x="190" y="178"/>
                    <a:pt x="183" y="72"/>
                    <a:pt x="175" y="22"/>
                  </a:cubicBezTo>
                  <a:cubicBezTo>
                    <a:pt x="155" y="21"/>
                    <a:pt x="139" y="16"/>
                    <a:pt x="139" y="11"/>
                  </a:cubicBezTo>
                  <a:cubicBezTo>
                    <a:pt x="139" y="5"/>
                    <a:pt x="158" y="0"/>
                    <a:pt x="181" y="0"/>
                  </a:cubicBezTo>
                  <a:cubicBezTo>
                    <a:pt x="205" y="0"/>
                    <a:pt x="223" y="5"/>
                    <a:pt x="223" y="11"/>
                  </a:cubicBezTo>
                  <a:cubicBezTo>
                    <a:pt x="223" y="16"/>
                    <a:pt x="211" y="20"/>
                    <a:pt x="193" y="21"/>
                  </a:cubicBezTo>
                  <a:cubicBezTo>
                    <a:pt x="199" y="61"/>
                    <a:pt x="213" y="187"/>
                    <a:pt x="144" y="207"/>
                  </a:cubicBezTo>
                  <a:cubicBezTo>
                    <a:pt x="95" y="222"/>
                    <a:pt x="50" y="224"/>
                    <a:pt x="24" y="224"/>
                  </a:cubicBezTo>
                  <a:cubicBezTo>
                    <a:pt x="10" y="224"/>
                    <a:pt x="1" y="224"/>
                    <a:pt x="0" y="224"/>
                  </a:cubicBezTo>
                  <a:lnTo>
                    <a:pt x="2" y="209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0" name="iṩḻïdè">
              <a:extLst>
                <a:ext uri="{FF2B5EF4-FFF2-40B4-BE49-F238E27FC236}">
                  <a16:creationId xmlns:a16="http://schemas.microsoft.com/office/drawing/2014/main" id="{EF7DB912-9B49-41EB-B054-0F306C4A4812}"/>
                </a:ext>
              </a:extLst>
            </p:cNvPr>
            <p:cNvSpPr/>
            <p:nvPr userDrawn="1"/>
          </p:nvSpPr>
          <p:spPr bwMode="auto">
            <a:xfrm>
              <a:off x="5994400" y="5611813"/>
              <a:ext cx="200025" cy="201613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1" name="íṧḻíḋe">
              <a:extLst>
                <a:ext uri="{FF2B5EF4-FFF2-40B4-BE49-F238E27FC236}">
                  <a16:creationId xmlns:a16="http://schemas.microsoft.com/office/drawing/2014/main" id="{33CCAEBA-612A-42AC-BA81-AE941F910FCA}"/>
                </a:ext>
              </a:extLst>
            </p:cNvPr>
            <p:cNvSpPr/>
            <p:nvPr userDrawn="1"/>
          </p:nvSpPr>
          <p:spPr bwMode="auto">
            <a:xfrm>
              <a:off x="5994400" y="4054475"/>
              <a:ext cx="200025" cy="201613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2" name="ïş1ïḓê">
              <a:extLst>
                <a:ext uri="{FF2B5EF4-FFF2-40B4-BE49-F238E27FC236}">
                  <a16:creationId xmlns:a16="http://schemas.microsoft.com/office/drawing/2014/main" id="{5B972618-293F-4550-A1A5-6F1ADEBFF5CA}"/>
                </a:ext>
              </a:extLst>
            </p:cNvPr>
            <p:cNvSpPr/>
            <p:nvPr userDrawn="1"/>
          </p:nvSpPr>
          <p:spPr bwMode="auto">
            <a:xfrm>
              <a:off x="5659438" y="5611813"/>
              <a:ext cx="203200" cy="201613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3" name="iṥḷïdé">
              <a:extLst>
                <a:ext uri="{FF2B5EF4-FFF2-40B4-BE49-F238E27FC236}">
                  <a16:creationId xmlns:a16="http://schemas.microsoft.com/office/drawing/2014/main" id="{A33E5FAA-7EE3-4655-8B96-50B25FCD10FB}"/>
                </a:ext>
              </a:extLst>
            </p:cNvPr>
            <p:cNvSpPr/>
            <p:nvPr userDrawn="1"/>
          </p:nvSpPr>
          <p:spPr bwMode="auto">
            <a:xfrm>
              <a:off x="6326188" y="5611813"/>
              <a:ext cx="203200" cy="201613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4" name="îṩľîde">
              <a:extLst>
                <a:ext uri="{FF2B5EF4-FFF2-40B4-BE49-F238E27FC236}">
                  <a16:creationId xmlns:a16="http://schemas.microsoft.com/office/drawing/2014/main" id="{79DA4745-2D3A-467A-ADB1-48DE97A435A2}"/>
                </a:ext>
              </a:extLst>
            </p:cNvPr>
            <p:cNvSpPr/>
            <p:nvPr userDrawn="1"/>
          </p:nvSpPr>
          <p:spPr bwMode="auto">
            <a:xfrm>
              <a:off x="5788025" y="5600700"/>
              <a:ext cx="612775" cy="69850"/>
            </a:xfrm>
            <a:prstGeom prst="rect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487784" y="4225335"/>
            <a:ext cx="44704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87784" y="3929064"/>
            <a:ext cx="44704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487785" y="1189668"/>
            <a:ext cx="4470400" cy="2263775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4_正文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>
            <a:extLst>
              <a:ext uri="{FF2B5EF4-FFF2-40B4-BE49-F238E27FC236}">
                <a16:creationId xmlns:a16="http://schemas.microsoft.com/office/drawing/2014/main" id="{92F589C9-1753-F640-BC2A-39FD4411E3FA}"/>
              </a:ext>
            </a:extLst>
          </p:cNvPr>
          <p:cNvSpPr/>
          <p:nvPr userDrawn="1"/>
        </p:nvSpPr>
        <p:spPr>
          <a:xfrm>
            <a:off x="-24000" y="1017000"/>
            <a:ext cx="12240000" cy="36000"/>
          </a:xfrm>
          <a:prstGeom prst="rect">
            <a:avLst/>
          </a:prstGeom>
          <a:solidFill>
            <a:srgbClr val="1265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内容占位符 13">
            <a:extLst>
              <a:ext uri="{FF2B5EF4-FFF2-40B4-BE49-F238E27FC236}">
                <a16:creationId xmlns:a16="http://schemas.microsoft.com/office/drawing/2014/main" id="{B97A7D5D-1247-2447-90B8-22E077F4457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768000" y="117000"/>
            <a:ext cx="10646409" cy="792000"/>
          </a:xfrm>
        </p:spPr>
        <p:txBody>
          <a:bodyPr anchor="ctr"/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lang="zh-CN" altLang="en-US" sz="4000" b="1" kern="1200" dirty="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1pPr>
          </a:lstStyle>
          <a:p>
            <a:pPr lvl="0" fontAlgn="base"/>
            <a:r>
              <a:rPr lang="zh-CN" altLang="en-US" strike="noStrike" noProof="1"/>
              <a:t>单击此处编辑母版文本样式</a:t>
            </a:r>
          </a:p>
        </p:txBody>
      </p:sp>
      <p:sp>
        <p:nvSpPr>
          <p:cNvPr id="6" name="内容占位符 9">
            <a:extLst>
              <a:ext uri="{FF2B5EF4-FFF2-40B4-BE49-F238E27FC236}">
                <a16:creationId xmlns:a16="http://schemas.microsoft.com/office/drawing/2014/main" id="{725BE4BC-4727-E64C-B478-FAC9F20032A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766762" y="1197000"/>
            <a:ext cx="10658475" cy="4896000"/>
          </a:xfrm>
        </p:spPr>
        <p:txBody>
          <a:bodyPr lIns="90000"/>
          <a:lstStyle>
            <a:lvl1pPr marL="361800" indent="-372600">
              <a:lnSpc>
                <a:spcPct val="120000"/>
              </a:lnSpc>
              <a:buFont typeface="Arial" panose="020B0604020202020204" pitchFamily="34" charset="0"/>
              <a:buChar char="•"/>
              <a:defRPr sz="2800" b="1">
                <a:latin typeface="DengXian" panose="02010600030101010101" pitchFamily="2" charset="-122"/>
                <a:ea typeface="DengXian" panose="02010600030101010101" pitchFamily="2" charset="-122"/>
              </a:defRPr>
            </a:lvl1pPr>
            <a:lvl2pPr marL="745200" indent="-342900">
              <a:lnSpc>
                <a:spcPct val="150000"/>
              </a:lnSpc>
              <a:buFont typeface="Wingdings" pitchFamily="2" charset="2"/>
              <a:buChar char="ü"/>
              <a:defRPr sz="2400">
                <a:latin typeface="DengXian" panose="02010600030101010101" pitchFamily="2" charset="-122"/>
                <a:ea typeface="DengXian" panose="02010600030101010101" pitchFamily="2" charset="-122"/>
              </a:defRPr>
            </a:lvl2pPr>
            <a:lvl3pPr marL="342900" indent="-342900">
              <a:lnSpc>
                <a:spcPct val="150000"/>
              </a:lnSpc>
              <a:buFont typeface="Arial" panose="020B0604020202020204" pitchFamily="34" charset="0"/>
              <a:buChar char="•"/>
              <a:defRPr sz="2000"/>
            </a:lvl3pPr>
            <a:lvl4pPr marL="922500" indent="-342900">
              <a:lnSpc>
                <a:spcPct val="150000"/>
              </a:lnSpc>
              <a:buFont typeface="Arial" panose="020B0604020202020204" pitchFamily="34" charset="0"/>
              <a:buChar char="•"/>
              <a:defRPr sz="2400"/>
            </a:lvl4pPr>
            <a:lvl5pPr marL="1828800" indent="0">
              <a:lnSpc>
                <a:spcPct val="150000"/>
              </a:lnSpc>
              <a:buNone/>
              <a:defRPr/>
            </a:lvl5pPr>
          </a:lstStyle>
          <a:p>
            <a:pPr lvl="0" indent="-228600"/>
            <a:r>
              <a:rPr lang="zh-CN" altLang="en-US" dirty="0"/>
              <a:t> 单击此处编辑母版文本样式</a:t>
            </a:r>
          </a:p>
          <a:p>
            <a:pPr lvl="1" indent="-228600"/>
            <a:r>
              <a:rPr lang="zh-CN" altLang="en-US" dirty="0"/>
              <a:t>  第二级</a:t>
            </a:r>
          </a:p>
        </p:txBody>
      </p:sp>
      <p:pic>
        <p:nvPicPr>
          <p:cNvPr id="17" name="图片 6" descr="tedu logo">
            <a:extLst>
              <a:ext uri="{FF2B5EF4-FFF2-40B4-BE49-F238E27FC236}">
                <a16:creationId xmlns:a16="http://schemas.microsoft.com/office/drawing/2014/main" id="{0E9E9893-6524-8F48-ABB0-82508A503A6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00000" y="47625"/>
            <a:ext cx="1652587" cy="952500"/>
          </a:xfrm>
          <a:prstGeom prst="rect">
            <a:avLst/>
          </a:prstGeom>
          <a:noFill/>
          <a:ln w="9525">
            <a:noFill/>
          </a:ln>
        </p:spPr>
      </p:pic>
    </p:spTree>
    <p:extLst>
      <p:ext uri="{BB962C8B-B14F-4D97-AF65-F5344CB8AC3E}">
        <p14:creationId xmlns:p14="http://schemas.microsoft.com/office/powerpoint/2010/main" val="1142454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19/12/29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  <p:sldLayoutId id="2147483670" r:id="rId7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16="http://schemas.microsoft.com/office/drawing/2014/main" xmlns:p14="http://schemas.microsoft.com/office/powerpoint/2010/main" xmlns:mc="http://schemas.openxmlformats.org/markup-compatibility/2006" xmlns:v="urn:schemas-microsoft-com:vml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>
          <a:grpSpLocks noGrp="1" noUngrp="1" noSelect="1" noRot="1" noChangeAspect="1" noMove="1" noResize="1"/>
        </p:cNvGrpSpPr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0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>
                        <a:picLocks noGrp="1" noSelect="1" noRot="1" noChangeAspect="1" noMove="1" noResize="1" noEditPoints="1" noAdjustHandles="1" noChangeArrowheads="1" noChangeShapeType="1" noCrop="1"/>
                      </p:cNvPicPr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>
            <a:spLocks noGrp="1" noSelect="1" noRot="1" noChangeAspect="1" noMove="1" noResize="1" noEditPoints="1" noAdjustHandles="1" noChangeArrowheads="1" noChangeShapeType="1" noTextEdit="1"/>
          </p:cNvSpPr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 noSelect="1" noRot="1" noChangeAspect="1" noMove="1" noResize="1" noEditPoints="1" noAdjustHandles="1" noChangeArrowheads="1" noChangeShapeType="1" noTextEdit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dirty="0" smtClean="0"/>
              <a:t>if</a:t>
            </a:r>
            <a:r>
              <a:rPr lang="zh-CN" altLang="en-US" dirty="0" smtClean="0"/>
              <a:t>语句</a:t>
            </a:r>
            <a:endParaRPr lang="zh-CN" altLang="en-US" dirty="0"/>
          </a:p>
        </p:txBody>
      </p:sp>
      <p:sp>
        <p:nvSpPr>
          <p:cNvPr id="5" name="副标题 4"/>
          <p:cNvSpPr>
            <a:spLocks noGrp="1" noSelect="1" noRot="1" noChangeAspect="1" noMove="1" noResize="1" noEditPoints="1" noAdjustHandles="1" noChangeArrowheads="1" noChangeShapeType="1" noTextEdit="1"/>
          </p:cNvSpPr>
          <p:nvPr>
            <p:ph type="subTitle" idx="1"/>
          </p:nvPr>
        </p:nvSpPr>
        <p:spPr>
          <a:xfrm>
            <a:off x="1383698" y="3124959"/>
            <a:ext cx="5844995" cy="535287"/>
          </a:xfrm>
        </p:spPr>
        <p:txBody>
          <a:bodyPr>
            <a:normAutofit/>
          </a:bodyPr>
          <a:lstStyle/>
          <a:p>
            <a:r>
              <a:rPr lang="zh-CN" altLang="en-US" dirty="0"/>
              <a:t>判断语句</a:t>
            </a:r>
          </a:p>
        </p:txBody>
      </p:sp>
      <p:sp>
        <p:nvSpPr>
          <p:cNvPr id="6" name="文本占位符 5"/>
          <p:cNvSpPr>
            <a:spLocks noGrp="1" noSelect="1" noRot="1" noChangeAspect="1" noMove="1" noResize="1" noEditPoints="1" noAdjustHandles="1" noChangeArrowheads="1" noChangeShapeType="1" noTextEdit="1"/>
          </p:cNvSpPr>
          <p:nvPr>
            <p:ph type="body" sz="quarter" idx="10"/>
          </p:nvPr>
        </p:nvSpPr>
        <p:spPr>
          <a:solidFill>
            <a:schemeClr val="tx2"/>
          </a:solidFill>
        </p:spPr>
        <p:txBody>
          <a:bodyPr/>
          <a:lstStyle/>
          <a:p>
            <a:r>
              <a:rPr lang="en-US" altLang="zh-CN" dirty="0"/>
              <a:t>By Zhangzg</a:t>
            </a:r>
          </a:p>
        </p:txBody>
      </p:sp>
      <p:sp>
        <p:nvSpPr>
          <p:cNvPr id="7" name="文本占位符 6"/>
          <p:cNvSpPr>
            <a:spLocks noGrp="1" noSelect="1" noRot="1" noChangeAspect="1" noMove="1" noResize="1" noEditPoints="1" noAdjustHandles="1" noChangeArrowheads="1" noChangeShapeType="1" noTextEdit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>
                <a:solidFill>
                  <a:schemeClr val="bg2">
                    <a:lumMod val="50000"/>
                  </a:schemeClr>
                </a:solidFill>
              </a:rPr>
              <a:t>https://www.jianshu.com/c/00c61372c46a</a:t>
            </a:r>
            <a:endParaRPr lang="en-US" altLang="en-US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14="http://schemas.microsoft.com/office/drawing/2010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>
          <a:grpSpLocks noGrp="1" noUngrp="1" noSelect="1" noRot="1" noChangeAspect="1" noMove="1" noResize="1"/>
        </p:cNvGrpSpPr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 noSelect="1" noRot="1" noChangeAspect="1" noMove="1" noResize="1" noEditPoints="1" noAdjustHandles="1" noChangeArrowheads="1" noChangeShapeType="1" noTextEdit="1"/>
          </p:cNvSpPr>
          <p:nvPr>
            <p:ph sz="quarter" idx="11"/>
          </p:nvPr>
        </p:nvSpPr>
        <p:spPr/>
        <p:txBody>
          <a:bodyPr/>
          <a:lstStyle/>
          <a:p>
            <a:r>
              <a:rPr kumimoji="1" lang="en-US" altLang="zh-CN"/>
              <a:t>if</a:t>
            </a:r>
            <a:r>
              <a:rPr kumimoji="1" lang="zh-CN" altLang="en-US"/>
              <a:t>语句</a:t>
            </a:r>
          </a:p>
        </p:txBody>
      </p:sp>
      <p:sp>
        <p:nvSpPr>
          <p:cNvPr id="3" name="内容占位符 2"/>
          <p:cNvSpPr>
            <a:spLocks noGrp="1" noSelect="1" noRot="1" noChangeAspect="1" noMove="1" noResize="1" noEditPoints="1" noAdjustHandles="1" noChangeArrowheads="1" noChangeShapeType="1" noTextEdit="1"/>
          </p:cNvSpPr>
          <p:nvPr>
            <p:ph sz="quarter" idx="10"/>
          </p:nvPr>
        </p:nvSpPr>
        <p:spPr>
          <a:xfrm>
            <a:off x="766762" y="1197000"/>
            <a:ext cx="10658475" cy="489600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kumimoji="1" lang="en-US" altLang="zh-CN" sz="3600" b="0" dirty="0">
                <a:solidFill>
                  <a:schemeClr val="accent5"/>
                </a:solidFill>
                <a:latin typeface="+mn-ea"/>
                <a:ea typeface="+mn-ea"/>
              </a:rPr>
              <a:t>if</a:t>
            </a:r>
            <a:r>
              <a:rPr kumimoji="1" lang="zh-CN" altLang="en-US" sz="3600" b="0" dirty="0">
                <a:solidFill>
                  <a:schemeClr val="accent5"/>
                </a:solidFill>
                <a:latin typeface="+mn-ea"/>
                <a:ea typeface="+mn-ea"/>
              </a:rPr>
              <a:t> 判断条件为真</a:t>
            </a:r>
            <a:r>
              <a:rPr kumimoji="1" lang="en-US" altLang="zh-CN" sz="3600" b="0" dirty="0">
                <a:solidFill>
                  <a:schemeClr val="accent5"/>
                </a:solidFill>
                <a:latin typeface="+mn-ea"/>
                <a:ea typeface="+mn-ea"/>
              </a:rPr>
              <a:t>:</a:t>
            </a:r>
          </a:p>
          <a:p>
            <a:pPr marL="0" indent="0">
              <a:buNone/>
            </a:pPr>
            <a:r>
              <a:rPr kumimoji="1" lang="zh-CN" altLang="en-US" sz="3600" b="0" dirty="0">
                <a:solidFill>
                  <a:schemeClr val="accent5"/>
                </a:solidFill>
                <a:latin typeface="+mn-ea"/>
                <a:ea typeface="+mn-ea"/>
              </a:rPr>
              <a:t>    语句</a:t>
            </a:r>
            <a:r>
              <a:rPr kumimoji="1" lang="en-US" altLang="zh-CN" sz="3600" b="0" dirty="0">
                <a:solidFill>
                  <a:schemeClr val="accent5"/>
                </a:solidFill>
                <a:latin typeface="+mn-ea"/>
                <a:ea typeface="+mn-ea"/>
              </a:rPr>
              <a:t>1</a:t>
            </a:r>
          </a:p>
          <a:p>
            <a:pPr marL="0" indent="0">
              <a:buNone/>
            </a:pPr>
            <a:r>
              <a:rPr kumimoji="1" lang="zh-CN" altLang="en-US" sz="3600" b="0" dirty="0">
                <a:solidFill>
                  <a:schemeClr val="accent5"/>
                </a:solidFill>
                <a:latin typeface="+mn-ea"/>
                <a:ea typeface="+mn-ea"/>
              </a:rPr>
              <a:t>    语句</a:t>
            </a:r>
            <a:r>
              <a:rPr kumimoji="1" lang="en-US" altLang="zh-CN" sz="3600" b="0" dirty="0">
                <a:solidFill>
                  <a:schemeClr val="accent5"/>
                </a:solidFill>
                <a:latin typeface="+mn-ea"/>
                <a:ea typeface="+mn-ea"/>
              </a:rPr>
              <a:t>2</a:t>
            </a:r>
          </a:p>
          <a:p>
            <a:pPr marL="0" indent="0">
              <a:buNone/>
            </a:pPr>
            <a:r>
              <a:rPr kumimoji="1" lang="zh-CN" altLang="en-US" sz="3600" b="0" dirty="0">
                <a:solidFill>
                  <a:schemeClr val="accent5"/>
                </a:solidFill>
                <a:latin typeface="+mn-ea"/>
                <a:ea typeface="+mn-ea"/>
              </a:rPr>
              <a:t>    </a:t>
            </a:r>
            <a:r>
              <a:rPr kumimoji="1" lang="en-US" altLang="zh-CN" sz="3600" b="0" dirty="0">
                <a:solidFill>
                  <a:schemeClr val="accent5"/>
                </a:solidFill>
                <a:latin typeface="+mn-ea"/>
                <a:ea typeface="+mn-ea"/>
              </a:rPr>
              <a:t>...</a:t>
            </a:r>
            <a:r>
              <a:rPr kumimoji="1" lang="zh-CN" altLang="en-US" sz="3600" b="0" dirty="0">
                <a:solidFill>
                  <a:schemeClr val="accent5"/>
                </a:solidFill>
                <a:latin typeface="+mn-ea"/>
                <a:ea typeface="+mn-ea"/>
              </a:rPr>
              <a:t> </a:t>
            </a:r>
            <a:r>
              <a:rPr kumimoji="1" lang="en-US" altLang="zh-CN" sz="3600" b="0" dirty="0">
                <a:solidFill>
                  <a:schemeClr val="accent5"/>
                </a:solidFill>
                <a:latin typeface="+mn-ea"/>
                <a:ea typeface="+mn-ea"/>
              </a:rPr>
              <a:t>...</a:t>
            </a:r>
          </a:p>
          <a:p>
            <a:pPr marL="0" indent="0">
              <a:buNone/>
            </a:pPr>
            <a:r>
              <a:rPr kumimoji="1" lang="zh-CN" altLang="en-US" sz="3600" b="0" dirty="0">
                <a:solidFill>
                  <a:schemeClr val="accent5"/>
                </a:solidFill>
                <a:latin typeface="+mn-ea"/>
                <a:ea typeface="+mn-ea"/>
              </a:rPr>
              <a:t>其他语句</a:t>
            </a:r>
            <a:endParaRPr kumimoji="1" lang="en-US" altLang="zh-CN" sz="3600" b="0" dirty="0">
              <a:solidFill>
                <a:schemeClr val="accent5"/>
              </a:solidFill>
              <a:latin typeface="+mn-ea"/>
              <a:ea typeface="+mn-ea"/>
            </a:endParaRPr>
          </a:p>
        </p:txBody>
      </p:sp>
      <p:sp>
        <p:nvSpPr>
          <p:cNvPr id="4" name="文本框 3"/>
          <p:cNvSpPr txBox="1">
            <a:spLocks noGrp="1" noSelect="1" noRot="1" noChangeAspect="1" noMove="1" noResize="1" noEditPoints="1" noAdjustHandles="1" noChangeArrowheads="1" noChangeShapeType="1" noTextEdit="1"/>
          </p:cNvSpPr>
          <p:nvPr/>
        </p:nvSpPr>
        <p:spPr>
          <a:xfrm>
            <a:off x="766762" y="1250091"/>
            <a:ext cx="25603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3600" dirty="0">
                <a:solidFill>
                  <a:schemeClr val="accent5"/>
                </a:solidFill>
                <a:latin typeface="+mn-ea"/>
              </a:rPr>
              <a:t>if</a:t>
            </a:r>
            <a:endParaRPr lang="zh-CN" altLang="en-US" sz="3600" dirty="0"/>
          </a:p>
        </p:txBody>
      </p:sp>
      <p:grpSp>
        <p:nvGrpSpPr>
          <p:cNvPr id="5" name="Group 343_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Grp="1" noUngrp="1" noSelect="1" noRot="1" noChangeAspect="1" noMove="1" noResize="1"/>
          </p:cNvGrpSpPr>
          <p:nvPr/>
        </p:nvGrpSpPr>
        <p:grpSpPr>
          <a:xfrm>
            <a:off x="6321425" y="1804470"/>
            <a:ext cx="4986338" cy="3681059"/>
            <a:chOff x="2994025" y="1274763"/>
            <a:chExt cx="6203951" cy="4579937"/>
          </a:xfrm>
        </p:grpSpPr>
        <p:sp>
          <p:nvSpPr>
            <p:cNvPr id="6" name="ïšlíḍ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121275" y="1401763"/>
              <a:ext cx="225425" cy="334962"/>
            </a:xfrm>
            <a:custGeom>
              <a:avLst/>
              <a:gdLst>
                <a:gd name="T0" fmla="*/ 2 w 110"/>
                <a:gd name="T1" fmla="*/ 0 h 163"/>
                <a:gd name="T2" fmla="*/ 57 w 110"/>
                <a:gd name="T3" fmla="*/ 33 h 163"/>
                <a:gd name="T4" fmla="*/ 89 w 110"/>
                <a:gd name="T5" fmla="*/ 149 h 163"/>
                <a:gd name="T6" fmla="*/ 83 w 110"/>
                <a:gd name="T7" fmla="*/ 162 h 163"/>
                <a:gd name="T8" fmla="*/ 0 w 110"/>
                <a:gd name="T9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63">
                  <a:moveTo>
                    <a:pt x="2" y="0"/>
                  </a:moveTo>
                  <a:cubicBezTo>
                    <a:pt x="57" y="33"/>
                    <a:pt x="57" y="33"/>
                    <a:pt x="57" y="33"/>
                  </a:cubicBezTo>
                  <a:cubicBezTo>
                    <a:pt x="96" y="58"/>
                    <a:pt x="110" y="108"/>
                    <a:pt x="89" y="149"/>
                  </a:cubicBezTo>
                  <a:cubicBezTo>
                    <a:pt x="85" y="158"/>
                    <a:pt x="82" y="163"/>
                    <a:pt x="83" y="162"/>
                  </a:cubicBezTo>
                  <a:cubicBezTo>
                    <a:pt x="85" y="160"/>
                    <a:pt x="0" y="0"/>
                    <a:pt x="0" y="0"/>
                  </a:cubicBezTo>
                </a:path>
              </a:pathLst>
            </a:custGeom>
            <a:solidFill>
              <a:srgbClr val="7C4B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" name="îšľïḑè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683125" y="2003425"/>
              <a:ext cx="250825" cy="463550"/>
            </a:xfrm>
            <a:custGeom>
              <a:avLst/>
              <a:gdLst>
                <a:gd name="T0" fmla="*/ 75 w 122"/>
                <a:gd name="T1" fmla="*/ 226 h 226"/>
                <a:gd name="T2" fmla="*/ 47 w 122"/>
                <a:gd name="T3" fmla="*/ 226 h 226"/>
                <a:gd name="T4" fmla="*/ 0 w 122"/>
                <a:gd name="T5" fmla="*/ 179 h 226"/>
                <a:gd name="T6" fmla="*/ 0 w 122"/>
                <a:gd name="T7" fmla="*/ 47 h 226"/>
                <a:gd name="T8" fmla="*/ 47 w 122"/>
                <a:gd name="T9" fmla="*/ 0 h 226"/>
                <a:gd name="T10" fmla="*/ 75 w 122"/>
                <a:gd name="T11" fmla="*/ 0 h 226"/>
                <a:gd name="T12" fmla="*/ 122 w 122"/>
                <a:gd name="T13" fmla="*/ 47 h 226"/>
                <a:gd name="T14" fmla="*/ 122 w 122"/>
                <a:gd name="T15" fmla="*/ 179 h 226"/>
                <a:gd name="T16" fmla="*/ 75 w 122"/>
                <a:gd name="T17" fmla="*/ 226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2" h="226">
                  <a:moveTo>
                    <a:pt x="75" y="226"/>
                  </a:moveTo>
                  <a:cubicBezTo>
                    <a:pt x="47" y="226"/>
                    <a:pt x="47" y="226"/>
                    <a:pt x="47" y="226"/>
                  </a:cubicBezTo>
                  <a:cubicBezTo>
                    <a:pt x="21" y="226"/>
                    <a:pt x="0" y="205"/>
                    <a:pt x="0" y="179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21"/>
                    <a:pt x="21" y="0"/>
                    <a:pt x="47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101" y="0"/>
                    <a:pt x="122" y="21"/>
                    <a:pt x="122" y="47"/>
                  </a:cubicBezTo>
                  <a:cubicBezTo>
                    <a:pt x="122" y="179"/>
                    <a:pt x="122" y="179"/>
                    <a:pt x="122" y="179"/>
                  </a:cubicBezTo>
                  <a:cubicBezTo>
                    <a:pt x="122" y="205"/>
                    <a:pt x="101" y="226"/>
                    <a:pt x="75" y="226"/>
                  </a:cubicBezTo>
                </a:path>
              </a:pathLst>
            </a:custGeom>
            <a:solidFill>
              <a:srgbClr val="FCBB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" name="ïSḻíḑé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471988" y="1323975"/>
              <a:ext cx="820738" cy="812800"/>
            </a:xfrm>
            <a:custGeom>
              <a:avLst/>
              <a:gdLst>
                <a:gd name="T0" fmla="*/ 399 w 400"/>
                <a:gd name="T1" fmla="*/ 200 h 396"/>
                <a:gd name="T2" fmla="*/ 350 w 400"/>
                <a:gd name="T3" fmla="*/ 240 h 396"/>
                <a:gd name="T4" fmla="*/ 358 w 400"/>
                <a:gd name="T5" fmla="*/ 263 h 396"/>
                <a:gd name="T6" fmla="*/ 351 w 400"/>
                <a:gd name="T7" fmla="*/ 274 h 396"/>
                <a:gd name="T8" fmla="*/ 287 w 400"/>
                <a:gd name="T9" fmla="*/ 379 h 396"/>
                <a:gd name="T10" fmla="*/ 203 w 400"/>
                <a:gd name="T11" fmla="*/ 391 h 396"/>
                <a:gd name="T12" fmla="*/ 161 w 400"/>
                <a:gd name="T13" fmla="*/ 392 h 396"/>
                <a:gd name="T14" fmla="*/ 99 w 400"/>
                <a:gd name="T15" fmla="*/ 387 h 396"/>
                <a:gd name="T16" fmla="*/ 82 w 400"/>
                <a:gd name="T17" fmla="*/ 375 h 396"/>
                <a:gd name="T18" fmla="*/ 56 w 400"/>
                <a:gd name="T19" fmla="*/ 342 h 396"/>
                <a:gd name="T20" fmla="*/ 47 w 400"/>
                <a:gd name="T21" fmla="*/ 327 h 396"/>
                <a:gd name="T22" fmla="*/ 2 w 400"/>
                <a:gd name="T23" fmla="*/ 172 h 396"/>
                <a:gd name="T24" fmla="*/ 221 w 400"/>
                <a:gd name="T25" fmla="*/ 8 h 396"/>
                <a:gd name="T26" fmla="*/ 230 w 400"/>
                <a:gd name="T27" fmla="*/ 9 h 396"/>
                <a:gd name="T28" fmla="*/ 375 w 400"/>
                <a:gd name="T29" fmla="*/ 93 h 396"/>
                <a:gd name="T30" fmla="*/ 380 w 400"/>
                <a:gd name="T31" fmla="*/ 100 h 396"/>
                <a:gd name="T32" fmla="*/ 380 w 400"/>
                <a:gd name="T33" fmla="*/ 100 h 396"/>
                <a:gd name="T34" fmla="*/ 395 w 400"/>
                <a:gd name="T35" fmla="*/ 179 h 396"/>
                <a:gd name="T36" fmla="*/ 399 w 400"/>
                <a:gd name="T37" fmla="*/ 200 h 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0" h="396">
                  <a:moveTo>
                    <a:pt x="399" y="200"/>
                  </a:moveTo>
                  <a:cubicBezTo>
                    <a:pt x="400" y="211"/>
                    <a:pt x="350" y="229"/>
                    <a:pt x="350" y="240"/>
                  </a:cubicBezTo>
                  <a:cubicBezTo>
                    <a:pt x="358" y="263"/>
                    <a:pt x="358" y="263"/>
                    <a:pt x="358" y="263"/>
                  </a:cubicBezTo>
                  <a:cubicBezTo>
                    <a:pt x="297" y="240"/>
                    <a:pt x="351" y="274"/>
                    <a:pt x="351" y="274"/>
                  </a:cubicBezTo>
                  <a:cubicBezTo>
                    <a:pt x="332" y="328"/>
                    <a:pt x="339" y="358"/>
                    <a:pt x="287" y="379"/>
                  </a:cubicBezTo>
                  <a:cubicBezTo>
                    <a:pt x="261" y="389"/>
                    <a:pt x="233" y="394"/>
                    <a:pt x="203" y="391"/>
                  </a:cubicBezTo>
                  <a:cubicBezTo>
                    <a:pt x="188" y="390"/>
                    <a:pt x="175" y="391"/>
                    <a:pt x="161" y="392"/>
                  </a:cubicBezTo>
                  <a:cubicBezTo>
                    <a:pt x="138" y="394"/>
                    <a:pt x="118" y="396"/>
                    <a:pt x="99" y="387"/>
                  </a:cubicBezTo>
                  <a:cubicBezTo>
                    <a:pt x="93" y="385"/>
                    <a:pt x="88" y="381"/>
                    <a:pt x="82" y="375"/>
                  </a:cubicBezTo>
                  <a:cubicBezTo>
                    <a:pt x="72" y="365"/>
                    <a:pt x="63" y="354"/>
                    <a:pt x="56" y="342"/>
                  </a:cubicBezTo>
                  <a:cubicBezTo>
                    <a:pt x="53" y="337"/>
                    <a:pt x="50" y="332"/>
                    <a:pt x="47" y="327"/>
                  </a:cubicBezTo>
                  <a:cubicBezTo>
                    <a:pt x="32" y="297"/>
                    <a:pt x="0" y="208"/>
                    <a:pt x="2" y="172"/>
                  </a:cubicBezTo>
                  <a:cubicBezTo>
                    <a:pt x="9" y="69"/>
                    <a:pt x="108" y="0"/>
                    <a:pt x="221" y="8"/>
                  </a:cubicBezTo>
                  <a:cubicBezTo>
                    <a:pt x="224" y="8"/>
                    <a:pt x="227" y="8"/>
                    <a:pt x="230" y="9"/>
                  </a:cubicBezTo>
                  <a:cubicBezTo>
                    <a:pt x="291" y="13"/>
                    <a:pt x="343" y="45"/>
                    <a:pt x="375" y="93"/>
                  </a:cubicBezTo>
                  <a:cubicBezTo>
                    <a:pt x="377" y="95"/>
                    <a:pt x="379" y="98"/>
                    <a:pt x="380" y="100"/>
                  </a:cubicBezTo>
                  <a:cubicBezTo>
                    <a:pt x="380" y="100"/>
                    <a:pt x="380" y="100"/>
                    <a:pt x="380" y="100"/>
                  </a:cubicBezTo>
                  <a:cubicBezTo>
                    <a:pt x="390" y="115"/>
                    <a:pt x="395" y="179"/>
                    <a:pt x="395" y="179"/>
                  </a:cubicBezTo>
                  <a:cubicBezTo>
                    <a:pt x="397" y="186"/>
                    <a:pt x="398" y="193"/>
                    <a:pt x="399" y="200"/>
                  </a:cubicBezTo>
                </a:path>
              </a:pathLst>
            </a:custGeom>
            <a:solidFill>
              <a:srgbClr val="7C4B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" name="ïś1íḓé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633913" y="1462088"/>
              <a:ext cx="647700" cy="822325"/>
            </a:xfrm>
            <a:custGeom>
              <a:avLst/>
              <a:gdLst>
                <a:gd name="T0" fmla="*/ 315 w 316"/>
                <a:gd name="T1" fmla="*/ 166 h 401"/>
                <a:gd name="T2" fmla="*/ 314 w 316"/>
                <a:gd name="T3" fmla="*/ 194 h 401"/>
                <a:gd name="T4" fmla="*/ 311 w 316"/>
                <a:gd name="T5" fmla="*/ 241 h 401"/>
                <a:gd name="T6" fmla="*/ 308 w 316"/>
                <a:gd name="T7" fmla="*/ 258 h 401"/>
                <a:gd name="T8" fmla="*/ 302 w 316"/>
                <a:gd name="T9" fmla="*/ 311 h 401"/>
                <a:gd name="T10" fmla="*/ 178 w 316"/>
                <a:gd name="T11" fmla="*/ 400 h 401"/>
                <a:gd name="T12" fmla="*/ 172 w 316"/>
                <a:gd name="T13" fmla="*/ 400 h 401"/>
                <a:gd name="T14" fmla="*/ 150 w 316"/>
                <a:gd name="T15" fmla="*/ 401 h 401"/>
                <a:gd name="T16" fmla="*/ 129 w 316"/>
                <a:gd name="T17" fmla="*/ 398 h 401"/>
                <a:gd name="T18" fmla="*/ 91 w 316"/>
                <a:gd name="T19" fmla="*/ 386 h 401"/>
                <a:gd name="T20" fmla="*/ 91 w 316"/>
                <a:gd name="T21" fmla="*/ 386 h 401"/>
                <a:gd name="T22" fmla="*/ 20 w 316"/>
                <a:gd name="T23" fmla="*/ 320 h 401"/>
                <a:gd name="T24" fmla="*/ 0 w 316"/>
                <a:gd name="T25" fmla="*/ 249 h 401"/>
                <a:gd name="T26" fmla="*/ 0 w 316"/>
                <a:gd name="T27" fmla="*/ 244 h 401"/>
                <a:gd name="T28" fmla="*/ 0 w 316"/>
                <a:gd name="T29" fmla="*/ 237 h 401"/>
                <a:gd name="T30" fmla="*/ 0 w 316"/>
                <a:gd name="T31" fmla="*/ 236 h 401"/>
                <a:gd name="T32" fmla="*/ 0 w 316"/>
                <a:gd name="T33" fmla="*/ 231 h 401"/>
                <a:gd name="T34" fmla="*/ 1 w 316"/>
                <a:gd name="T35" fmla="*/ 218 h 401"/>
                <a:gd name="T36" fmla="*/ 3 w 316"/>
                <a:gd name="T37" fmla="*/ 172 h 401"/>
                <a:gd name="T38" fmla="*/ 4 w 316"/>
                <a:gd name="T39" fmla="*/ 171 h 401"/>
                <a:gd name="T40" fmla="*/ 4 w 316"/>
                <a:gd name="T41" fmla="*/ 171 h 401"/>
                <a:gd name="T42" fmla="*/ 4 w 316"/>
                <a:gd name="T43" fmla="*/ 163 h 401"/>
                <a:gd name="T44" fmla="*/ 4 w 316"/>
                <a:gd name="T45" fmla="*/ 156 h 401"/>
                <a:gd name="T46" fmla="*/ 5 w 316"/>
                <a:gd name="T47" fmla="*/ 150 h 401"/>
                <a:gd name="T48" fmla="*/ 5 w 316"/>
                <a:gd name="T49" fmla="*/ 148 h 401"/>
                <a:gd name="T50" fmla="*/ 11 w 316"/>
                <a:gd name="T51" fmla="*/ 118 h 401"/>
                <a:gd name="T52" fmla="*/ 18 w 316"/>
                <a:gd name="T53" fmla="*/ 98 h 401"/>
                <a:gd name="T54" fmla="*/ 19 w 316"/>
                <a:gd name="T55" fmla="*/ 95 h 401"/>
                <a:gd name="T56" fmla="*/ 28 w 316"/>
                <a:gd name="T57" fmla="*/ 79 h 401"/>
                <a:gd name="T58" fmla="*/ 28 w 316"/>
                <a:gd name="T59" fmla="*/ 79 h 401"/>
                <a:gd name="T60" fmla="*/ 72 w 316"/>
                <a:gd name="T61" fmla="*/ 31 h 401"/>
                <a:gd name="T62" fmla="*/ 83 w 316"/>
                <a:gd name="T63" fmla="*/ 24 h 401"/>
                <a:gd name="T64" fmla="*/ 173 w 316"/>
                <a:gd name="T65" fmla="*/ 2 h 401"/>
                <a:gd name="T66" fmla="*/ 242 w 316"/>
                <a:gd name="T67" fmla="*/ 25 h 401"/>
                <a:gd name="T68" fmla="*/ 278 w 316"/>
                <a:gd name="T69" fmla="*/ 54 h 401"/>
                <a:gd name="T70" fmla="*/ 309 w 316"/>
                <a:gd name="T71" fmla="*/ 109 h 401"/>
                <a:gd name="T72" fmla="*/ 310 w 316"/>
                <a:gd name="T73" fmla="*/ 112 h 401"/>
                <a:gd name="T74" fmla="*/ 314 w 316"/>
                <a:gd name="T75" fmla="*/ 133 h 401"/>
                <a:gd name="T76" fmla="*/ 315 w 316"/>
                <a:gd name="T77" fmla="*/ 166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16" h="401">
                  <a:moveTo>
                    <a:pt x="315" y="166"/>
                  </a:moveTo>
                  <a:cubicBezTo>
                    <a:pt x="314" y="194"/>
                    <a:pt x="314" y="194"/>
                    <a:pt x="314" y="194"/>
                  </a:cubicBezTo>
                  <a:cubicBezTo>
                    <a:pt x="311" y="241"/>
                    <a:pt x="311" y="241"/>
                    <a:pt x="311" y="241"/>
                  </a:cubicBezTo>
                  <a:cubicBezTo>
                    <a:pt x="308" y="258"/>
                    <a:pt x="308" y="258"/>
                    <a:pt x="308" y="258"/>
                  </a:cubicBezTo>
                  <a:cubicBezTo>
                    <a:pt x="307" y="265"/>
                    <a:pt x="304" y="304"/>
                    <a:pt x="302" y="311"/>
                  </a:cubicBezTo>
                  <a:cubicBezTo>
                    <a:pt x="289" y="377"/>
                    <a:pt x="246" y="391"/>
                    <a:pt x="178" y="400"/>
                  </a:cubicBezTo>
                  <a:cubicBezTo>
                    <a:pt x="176" y="400"/>
                    <a:pt x="174" y="400"/>
                    <a:pt x="172" y="400"/>
                  </a:cubicBezTo>
                  <a:cubicBezTo>
                    <a:pt x="165" y="401"/>
                    <a:pt x="158" y="401"/>
                    <a:pt x="150" y="401"/>
                  </a:cubicBezTo>
                  <a:cubicBezTo>
                    <a:pt x="143" y="400"/>
                    <a:pt x="136" y="399"/>
                    <a:pt x="129" y="398"/>
                  </a:cubicBezTo>
                  <a:cubicBezTo>
                    <a:pt x="116" y="396"/>
                    <a:pt x="103" y="391"/>
                    <a:pt x="91" y="386"/>
                  </a:cubicBezTo>
                  <a:cubicBezTo>
                    <a:pt x="91" y="386"/>
                    <a:pt x="91" y="386"/>
                    <a:pt x="91" y="386"/>
                  </a:cubicBezTo>
                  <a:cubicBezTo>
                    <a:pt x="61" y="372"/>
                    <a:pt x="36" y="349"/>
                    <a:pt x="20" y="320"/>
                  </a:cubicBezTo>
                  <a:cubicBezTo>
                    <a:pt x="8" y="299"/>
                    <a:pt x="1" y="275"/>
                    <a:pt x="0" y="249"/>
                  </a:cubicBezTo>
                  <a:cubicBezTo>
                    <a:pt x="0" y="247"/>
                    <a:pt x="0" y="245"/>
                    <a:pt x="0" y="244"/>
                  </a:cubicBezTo>
                  <a:cubicBezTo>
                    <a:pt x="0" y="242"/>
                    <a:pt x="0" y="239"/>
                    <a:pt x="0" y="237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0" y="231"/>
                    <a:pt x="0" y="231"/>
                    <a:pt x="0" y="231"/>
                  </a:cubicBezTo>
                  <a:cubicBezTo>
                    <a:pt x="1" y="218"/>
                    <a:pt x="1" y="218"/>
                    <a:pt x="1" y="218"/>
                  </a:cubicBezTo>
                  <a:cubicBezTo>
                    <a:pt x="3" y="172"/>
                    <a:pt x="3" y="172"/>
                    <a:pt x="3" y="172"/>
                  </a:cubicBezTo>
                  <a:cubicBezTo>
                    <a:pt x="4" y="171"/>
                    <a:pt x="4" y="171"/>
                    <a:pt x="4" y="171"/>
                  </a:cubicBezTo>
                  <a:cubicBezTo>
                    <a:pt x="4" y="171"/>
                    <a:pt x="4" y="171"/>
                    <a:pt x="4" y="171"/>
                  </a:cubicBezTo>
                  <a:cubicBezTo>
                    <a:pt x="4" y="163"/>
                    <a:pt x="4" y="163"/>
                    <a:pt x="4" y="163"/>
                  </a:cubicBezTo>
                  <a:cubicBezTo>
                    <a:pt x="4" y="156"/>
                    <a:pt x="4" y="156"/>
                    <a:pt x="4" y="156"/>
                  </a:cubicBezTo>
                  <a:cubicBezTo>
                    <a:pt x="5" y="150"/>
                    <a:pt x="5" y="150"/>
                    <a:pt x="5" y="150"/>
                  </a:cubicBezTo>
                  <a:cubicBezTo>
                    <a:pt x="5" y="148"/>
                    <a:pt x="5" y="148"/>
                    <a:pt x="5" y="148"/>
                  </a:cubicBezTo>
                  <a:cubicBezTo>
                    <a:pt x="5" y="138"/>
                    <a:pt x="8" y="128"/>
                    <a:pt x="11" y="118"/>
                  </a:cubicBezTo>
                  <a:cubicBezTo>
                    <a:pt x="13" y="111"/>
                    <a:pt x="15" y="104"/>
                    <a:pt x="18" y="98"/>
                  </a:cubicBezTo>
                  <a:cubicBezTo>
                    <a:pt x="19" y="97"/>
                    <a:pt x="19" y="96"/>
                    <a:pt x="19" y="95"/>
                  </a:cubicBezTo>
                  <a:cubicBezTo>
                    <a:pt x="22" y="89"/>
                    <a:pt x="25" y="84"/>
                    <a:pt x="28" y="79"/>
                  </a:cubicBezTo>
                  <a:cubicBezTo>
                    <a:pt x="28" y="79"/>
                    <a:pt x="28" y="79"/>
                    <a:pt x="28" y="79"/>
                  </a:cubicBezTo>
                  <a:cubicBezTo>
                    <a:pt x="39" y="60"/>
                    <a:pt x="54" y="44"/>
                    <a:pt x="72" y="31"/>
                  </a:cubicBezTo>
                  <a:cubicBezTo>
                    <a:pt x="76" y="29"/>
                    <a:pt x="80" y="26"/>
                    <a:pt x="83" y="24"/>
                  </a:cubicBezTo>
                  <a:cubicBezTo>
                    <a:pt x="110" y="8"/>
                    <a:pt x="141" y="0"/>
                    <a:pt x="173" y="2"/>
                  </a:cubicBezTo>
                  <a:cubicBezTo>
                    <a:pt x="200" y="3"/>
                    <a:pt x="220" y="11"/>
                    <a:pt x="242" y="25"/>
                  </a:cubicBezTo>
                  <a:cubicBezTo>
                    <a:pt x="256" y="32"/>
                    <a:pt x="268" y="42"/>
                    <a:pt x="278" y="54"/>
                  </a:cubicBezTo>
                  <a:cubicBezTo>
                    <a:pt x="292" y="69"/>
                    <a:pt x="302" y="88"/>
                    <a:pt x="309" y="109"/>
                  </a:cubicBezTo>
                  <a:cubicBezTo>
                    <a:pt x="309" y="110"/>
                    <a:pt x="310" y="111"/>
                    <a:pt x="310" y="112"/>
                  </a:cubicBezTo>
                  <a:cubicBezTo>
                    <a:pt x="312" y="119"/>
                    <a:pt x="314" y="126"/>
                    <a:pt x="314" y="133"/>
                  </a:cubicBezTo>
                  <a:cubicBezTo>
                    <a:pt x="316" y="144"/>
                    <a:pt x="316" y="155"/>
                    <a:pt x="315" y="166"/>
                  </a:cubicBezTo>
                </a:path>
              </a:pathLst>
            </a:custGeom>
            <a:solidFill>
              <a:srgbClr val="FFC7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" name="îṣlíḓè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459288" y="1274763"/>
              <a:ext cx="771525" cy="931862"/>
            </a:xfrm>
            <a:custGeom>
              <a:avLst/>
              <a:gdLst>
                <a:gd name="T0" fmla="*/ 343 w 376"/>
                <a:gd name="T1" fmla="*/ 117 h 454"/>
                <a:gd name="T2" fmla="*/ 285 w 376"/>
                <a:gd name="T3" fmla="*/ 243 h 454"/>
                <a:gd name="T4" fmla="*/ 282 w 376"/>
                <a:gd name="T5" fmla="*/ 289 h 454"/>
                <a:gd name="T6" fmla="*/ 275 w 376"/>
                <a:gd name="T7" fmla="*/ 310 h 454"/>
                <a:gd name="T8" fmla="*/ 260 w 376"/>
                <a:gd name="T9" fmla="*/ 322 h 454"/>
                <a:gd name="T10" fmla="*/ 244 w 376"/>
                <a:gd name="T11" fmla="*/ 306 h 454"/>
                <a:gd name="T12" fmla="*/ 244 w 376"/>
                <a:gd name="T13" fmla="*/ 305 h 454"/>
                <a:gd name="T14" fmla="*/ 245 w 376"/>
                <a:gd name="T15" fmla="*/ 271 h 454"/>
                <a:gd name="T16" fmla="*/ 228 w 376"/>
                <a:gd name="T17" fmla="*/ 316 h 454"/>
                <a:gd name="T18" fmla="*/ 174 w 376"/>
                <a:gd name="T19" fmla="*/ 403 h 454"/>
                <a:gd name="T20" fmla="*/ 106 w 376"/>
                <a:gd name="T21" fmla="*/ 454 h 454"/>
                <a:gd name="T22" fmla="*/ 0 w 376"/>
                <a:gd name="T23" fmla="*/ 247 h 454"/>
                <a:gd name="T24" fmla="*/ 2 w 376"/>
                <a:gd name="T25" fmla="*/ 211 h 454"/>
                <a:gd name="T26" fmla="*/ 8 w 376"/>
                <a:gd name="T27" fmla="*/ 179 h 454"/>
                <a:gd name="T28" fmla="*/ 293 w 376"/>
                <a:gd name="T29" fmla="*/ 69 h 454"/>
                <a:gd name="T30" fmla="*/ 343 w 376"/>
                <a:gd name="T31" fmla="*/ 117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76" h="454">
                  <a:moveTo>
                    <a:pt x="343" y="117"/>
                  </a:moveTo>
                  <a:cubicBezTo>
                    <a:pt x="376" y="208"/>
                    <a:pt x="289" y="201"/>
                    <a:pt x="285" y="243"/>
                  </a:cubicBezTo>
                  <a:cubicBezTo>
                    <a:pt x="285" y="248"/>
                    <a:pt x="283" y="255"/>
                    <a:pt x="282" y="289"/>
                  </a:cubicBezTo>
                  <a:cubicBezTo>
                    <a:pt x="275" y="310"/>
                    <a:pt x="275" y="310"/>
                    <a:pt x="275" y="310"/>
                  </a:cubicBezTo>
                  <a:cubicBezTo>
                    <a:pt x="273" y="317"/>
                    <a:pt x="267" y="322"/>
                    <a:pt x="260" y="322"/>
                  </a:cubicBezTo>
                  <a:cubicBezTo>
                    <a:pt x="251" y="322"/>
                    <a:pt x="244" y="315"/>
                    <a:pt x="244" y="306"/>
                  </a:cubicBezTo>
                  <a:cubicBezTo>
                    <a:pt x="244" y="305"/>
                    <a:pt x="244" y="305"/>
                    <a:pt x="244" y="305"/>
                  </a:cubicBezTo>
                  <a:cubicBezTo>
                    <a:pt x="245" y="271"/>
                    <a:pt x="245" y="271"/>
                    <a:pt x="245" y="271"/>
                  </a:cubicBezTo>
                  <a:cubicBezTo>
                    <a:pt x="228" y="316"/>
                    <a:pt x="228" y="316"/>
                    <a:pt x="228" y="316"/>
                  </a:cubicBezTo>
                  <a:cubicBezTo>
                    <a:pt x="216" y="349"/>
                    <a:pt x="197" y="378"/>
                    <a:pt x="174" y="403"/>
                  </a:cubicBezTo>
                  <a:cubicBezTo>
                    <a:pt x="154" y="424"/>
                    <a:pt x="132" y="441"/>
                    <a:pt x="106" y="454"/>
                  </a:cubicBezTo>
                  <a:cubicBezTo>
                    <a:pt x="106" y="454"/>
                    <a:pt x="0" y="391"/>
                    <a:pt x="0" y="247"/>
                  </a:cubicBezTo>
                  <a:cubicBezTo>
                    <a:pt x="0" y="235"/>
                    <a:pt x="0" y="223"/>
                    <a:pt x="2" y="211"/>
                  </a:cubicBezTo>
                  <a:cubicBezTo>
                    <a:pt x="3" y="199"/>
                    <a:pt x="5" y="189"/>
                    <a:pt x="8" y="179"/>
                  </a:cubicBezTo>
                  <a:cubicBezTo>
                    <a:pt x="52" y="0"/>
                    <a:pt x="272" y="61"/>
                    <a:pt x="293" y="69"/>
                  </a:cubicBezTo>
                  <a:cubicBezTo>
                    <a:pt x="315" y="77"/>
                    <a:pt x="343" y="117"/>
                    <a:pt x="343" y="117"/>
                  </a:cubicBezTo>
                </a:path>
              </a:pathLst>
            </a:custGeom>
            <a:solidFill>
              <a:srgbClr val="7C4B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" name="iṥlíḓ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257800" y="1881188"/>
              <a:ext cx="60325" cy="160337"/>
            </a:xfrm>
            <a:custGeom>
              <a:avLst/>
              <a:gdLst>
                <a:gd name="T0" fmla="*/ 30 w 30"/>
                <a:gd name="T1" fmla="*/ 58 h 78"/>
                <a:gd name="T2" fmla="*/ 30 w 30"/>
                <a:gd name="T3" fmla="*/ 60 h 78"/>
                <a:gd name="T4" fmla="*/ 0 w 30"/>
                <a:gd name="T5" fmla="*/ 77 h 78"/>
                <a:gd name="T6" fmla="*/ 3 w 30"/>
                <a:gd name="T7" fmla="*/ 0 h 78"/>
                <a:gd name="T8" fmla="*/ 30 w 30"/>
                <a:gd name="T9" fmla="*/ 5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78">
                  <a:moveTo>
                    <a:pt x="30" y="58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30" y="70"/>
                    <a:pt x="21" y="78"/>
                    <a:pt x="0" y="77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0" y="26"/>
                    <a:pt x="29" y="42"/>
                    <a:pt x="30" y="58"/>
                  </a:cubicBezTo>
                  <a:close/>
                </a:path>
              </a:pathLst>
            </a:custGeom>
            <a:solidFill>
              <a:srgbClr val="FFC7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" name="ïṡ1iḋé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180013" y="1768475"/>
              <a:ext cx="136525" cy="41275"/>
            </a:xfrm>
            <a:custGeom>
              <a:avLst/>
              <a:gdLst>
                <a:gd name="T0" fmla="*/ 57 w 67"/>
                <a:gd name="T1" fmla="*/ 20 h 20"/>
                <a:gd name="T2" fmla="*/ 9 w 67"/>
                <a:gd name="T3" fmla="*/ 20 h 20"/>
                <a:gd name="T4" fmla="*/ 0 w 67"/>
                <a:gd name="T5" fmla="*/ 10 h 20"/>
                <a:gd name="T6" fmla="*/ 9 w 67"/>
                <a:gd name="T7" fmla="*/ 0 h 20"/>
                <a:gd name="T8" fmla="*/ 57 w 67"/>
                <a:gd name="T9" fmla="*/ 0 h 20"/>
                <a:gd name="T10" fmla="*/ 67 w 67"/>
                <a:gd name="T11" fmla="*/ 10 h 20"/>
                <a:gd name="T12" fmla="*/ 57 w 67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20">
                  <a:moveTo>
                    <a:pt x="57" y="20"/>
                  </a:moveTo>
                  <a:cubicBezTo>
                    <a:pt x="9" y="20"/>
                    <a:pt x="9" y="20"/>
                    <a:pt x="9" y="20"/>
                  </a:cubicBezTo>
                  <a:cubicBezTo>
                    <a:pt x="4" y="20"/>
                    <a:pt x="0" y="15"/>
                    <a:pt x="0" y="10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62" y="0"/>
                    <a:pt x="67" y="4"/>
                    <a:pt x="67" y="10"/>
                  </a:cubicBezTo>
                  <a:cubicBezTo>
                    <a:pt x="67" y="15"/>
                    <a:pt x="62" y="20"/>
                    <a:pt x="57" y="20"/>
                  </a:cubicBezTo>
                  <a:close/>
                </a:path>
              </a:pathLst>
            </a:custGeom>
            <a:solidFill>
              <a:srgbClr val="7C4B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" name="išḷîdè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226050" y="1830388"/>
              <a:ext cx="28575" cy="50800"/>
            </a:xfrm>
            <a:custGeom>
              <a:avLst/>
              <a:gdLst>
                <a:gd name="T0" fmla="*/ 7 w 14"/>
                <a:gd name="T1" fmla="*/ 25 h 25"/>
                <a:gd name="T2" fmla="*/ 7 w 14"/>
                <a:gd name="T3" fmla="*/ 25 h 25"/>
                <a:gd name="T4" fmla="*/ 0 w 14"/>
                <a:gd name="T5" fmla="*/ 18 h 25"/>
                <a:gd name="T6" fmla="*/ 0 w 14"/>
                <a:gd name="T7" fmla="*/ 8 h 25"/>
                <a:gd name="T8" fmla="*/ 7 w 14"/>
                <a:gd name="T9" fmla="*/ 0 h 25"/>
                <a:gd name="T10" fmla="*/ 14 w 14"/>
                <a:gd name="T11" fmla="*/ 8 h 25"/>
                <a:gd name="T12" fmla="*/ 14 w 14"/>
                <a:gd name="T13" fmla="*/ 18 h 25"/>
                <a:gd name="T14" fmla="*/ 7 w 14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25">
                  <a:moveTo>
                    <a:pt x="7" y="25"/>
                  </a:moveTo>
                  <a:cubicBezTo>
                    <a:pt x="7" y="25"/>
                    <a:pt x="7" y="25"/>
                    <a:pt x="7" y="25"/>
                  </a:cubicBezTo>
                  <a:cubicBezTo>
                    <a:pt x="3" y="25"/>
                    <a:pt x="0" y="22"/>
                    <a:pt x="0" y="1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3" y="0"/>
                    <a:pt x="7" y="0"/>
                  </a:cubicBezTo>
                  <a:cubicBezTo>
                    <a:pt x="11" y="0"/>
                    <a:pt x="14" y="4"/>
                    <a:pt x="14" y="8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4" y="22"/>
                    <a:pt x="11" y="25"/>
                    <a:pt x="7" y="25"/>
                  </a:cubicBezTo>
                  <a:close/>
                </a:path>
              </a:pathLst>
            </a:custGeom>
            <a:solidFill>
              <a:srgbClr val="0813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" name="íSľïḍe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459288" y="1641475"/>
              <a:ext cx="357188" cy="565150"/>
            </a:xfrm>
            <a:custGeom>
              <a:avLst/>
              <a:gdLst>
                <a:gd name="T0" fmla="*/ 8 w 174"/>
                <a:gd name="T1" fmla="*/ 0 h 275"/>
                <a:gd name="T2" fmla="*/ 8 w 174"/>
                <a:gd name="T3" fmla="*/ 0 h 275"/>
                <a:gd name="T4" fmla="*/ 2 w 174"/>
                <a:gd name="T5" fmla="*/ 32 h 275"/>
                <a:gd name="T6" fmla="*/ 0 w 174"/>
                <a:gd name="T7" fmla="*/ 68 h 275"/>
                <a:gd name="T8" fmla="*/ 106 w 174"/>
                <a:gd name="T9" fmla="*/ 275 h 275"/>
                <a:gd name="T10" fmla="*/ 174 w 174"/>
                <a:gd name="T11" fmla="*/ 224 h 275"/>
                <a:gd name="T12" fmla="*/ 56 w 174"/>
                <a:gd name="T13" fmla="*/ 121 h 275"/>
                <a:gd name="T14" fmla="*/ 8 w 174"/>
                <a:gd name="T15" fmla="*/ 0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4" h="275"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5" y="10"/>
                    <a:pt x="3" y="20"/>
                    <a:pt x="2" y="32"/>
                  </a:cubicBezTo>
                  <a:cubicBezTo>
                    <a:pt x="0" y="44"/>
                    <a:pt x="0" y="56"/>
                    <a:pt x="0" y="68"/>
                  </a:cubicBezTo>
                  <a:cubicBezTo>
                    <a:pt x="0" y="212"/>
                    <a:pt x="106" y="275"/>
                    <a:pt x="106" y="275"/>
                  </a:cubicBezTo>
                  <a:cubicBezTo>
                    <a:pt x="132" y="262"/>
                    <a:pt x="154" y="245"/>
                    <a:pt x="174" y="224"/>
                  </a:cubicBezTo>
                  <a:cubicBezTo>
                    <a:pt x="157" y="219"/>
                    <a:pt x="104" y="199"/>
                    <a:pt x="56" y="121"/>
                  </a:cubicBezTo>
                  <a:cubicBezTo>
                    <a:pt x="25" y="69"/>
                    <a:pt x="12" y="28"/>
                    <a:pt x="8" y="0"/>
                  </a:cubicBezTo>
                </a:path>
              </a:pathLst>
            </a:custGeom>
            <a:solidFill>
              <a:srgbClr val="6540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" name="íṡ1îďé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919663" y="1811338"/>
              <a:ext cx="338138" cy="519112"/>
            </a:xfrm>
            <a:custGeom>
              <a:avLst/>
              <a:gdLst>
                <a:gd name="T0" fmla="*/ 165 w 165"/>
                <a:gd name="T1" fmla="*/ 135 h 253"/>
                <a:gd name="T2" fmla="*/ 163 w 165"/>
                <a:gd name="T3" fmla="*/ 189 h 253"/>
                <a:gd name="T4" fmla="*/ 68 w 165"/>
                <a:gd name="T5" fmla="*/ 249 h 253"/>
                <a:gd name="T6" fmla="*/ 4 w 165"/>
                <a:gd name="T7" fmla="*/ 242 h 253"/>
                <a:gd name="T8" fmla="*/ 11 w 165"/>
                <a:gd name="T9" fmla="*/ 186 h 253"/>
                <a:gd name="T10" fmla="*/ 28 w 165"/>
                <a:gd name="T11" fmla="*/ 80 h 253"/>
                <a:gd name="T12" fmla="*/ 0 w 165"/>
                <a:gd name="T13" fmla="*/ 0 h 253"/>
                <a:gd name="T14" fmla="*/ 58 w 165"/>
                <a:gd name="T15" fmla="*/ 24 h 253"/>
                <a:gd name="T16" fmla="*/ 58 w 165"/>
                <a:gd name="T17" fmla="*/ 24 h 253"/>
                <a:gd name="T18" fmla="*/ 163 w 165"/>
                <a:gd name="T19" fmla="*/ 136 h 253"/>
                <a:gd name="T20" fmla="*/ 165 w 165"/>
                <a:gd name="T21" fmla="*/ 135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5" h="253">
                  <a:moveTo>
                    <a:pt x="165" y="135"/>
                  </a:moveTo>
                  <a:cubicBezTo>
                    <a:pt x="163" y="189"/>
                    <a:pt x="163" y="189"/>
                    <a:pt x="163" y="189"/>
                  </a:cubicBezTo>
                  <a:cubicBezTo>
                    <a:pt x="163" y="235"/>
                    <a:pt x="109" y="253"/>
                    <a:pt x="68" y="249"/>
                  </a:cubicBezTo>
                  <a:cubicBezTo>
                    <a:pt x="4" y="242"/>
                    <a:pt x="4" y="242"/>
                    <a:pt x="4" y="242"/>
                  </a:cubicBezTo>
                  <a:cubicBezTo>
                    <a:pt x="11" y="186"/>
                    <a:pt x="11" y="186"/>
                    <a:pt x="11" y="186"/>
                  </a:cubicBezTo>
                  <a:cubicBezTo>
                    <a:pt x="28" y="80"/>
                    <a:pt x="28" y="80"/>
                    <a:pt x="28" y="8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8" y="24"/>
                    <a:pt x="58" y="24"/>
                    <a:pt x="58" y="24"/>
                  </a:cubicBezTo>
                  <a:cubicBezTo>
                    <a:pt x="58" y="24"/>
                    <a:pt x="58" y="24"/>
                    <a:pt x="58" y="24"/>
                  </a:cubicBezTo>
                  <a:cubicBezTo>
                    <a:pt x="54" y="88"/>
                    <a:pt x="99" y="139"/>
                    <a:pt x="163" y="136"/>
                  </a:cubicBezTo>
                  <a:lnTo>
                    <a:pt x="165" y="135"/>
                  </a:lnTo>
                  <a:close/>
                </a:path>
              </a:pathLst>
            </a:custGeom>
            <a:solidFill>
              <a:srgbClr val="7C4B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" name="ïś1iḓe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857750" y="1808163"/>
              <a:ext cx="119063" cy="177800"/>
            </a:xfrm>
            <a:custGeom>
              <a:avLst/>
              <a:gdLst>
                <a:gd name="T0" fmla="*/ 47 w 58"/>
                <a:gd name="T1" fmla="*/ 0 h 87"/>
                <a:gd name="T2" fmla="*/ 58 w 58"/>
                <a:gd name="T3" fmla="*/ 12 h 87"/>
                <a:gd name="T4" fmla="*/ 58 w 58"/>
                <a:gd name="T5" fmla="*/ 52 h 87"/>
                <a:gd name="T6" fmla="*/ 58 w 58"/>
                <a:gd name="T7" fmla="*/ 87 h 87"/>
                <a:gd name="T8" fmla="*/ 44 w 58"/>
                <a:gd name="T9" fmla="*/ 87 h 87"/>
                <a:gd name="T10" fmla="*/ 41 w 58"/>
                <a:gd name="T11" fmla="*/ 87 h 87"/>
                <a:gd name="T12" fmla="*/ 0 w 58"/>
                <a:gd name="T13" fmla="*/ 42 h 87"/>
                <a:gd name="T14" fmla="*/ 13 w 58"/>
                <a:gd name="T15" fmla="*/ 12 h 87"/>
                <a:gd name="T16" fmla="*/ 41 w 58"/>
                <a:gd name="T17" fmla="*/ 0 h 87"/>
                <a:gd name="T18" fmla="*/ 41 w 58"/>
                <a:gd name="T19" fmla="*/ 0 h 87"/>
                <a:gd name="T20" fmla="*/ 44 w 58"/>
                <a:gd name="T21" fmla="*/ 0 h 87"/>
                <a:gd name="T22" fmla="*/ 47 w 58"/>
                <a:gd name="T23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8" h="87">
                  <a:moveTo>
                    <a:pt x="47" y="0"/>
                  </a:moveTo>
                  <a:cubicBezTo>
                    <a:pt x="53" y="0"/>
                    <a:pt x="58" y="5"/>
                    <a:pt x="58" y="12"/>
                  </a:cubicBezTo>
                  <a:cubicBezTo>
                    <a:pt x="58" y="52"/>
                    <a:pt x="58" y="52"/>
                    <a:pt x="58" y="52"/>
                  </a:cubicBezTo>
                  <a:cubicBezTo>
                    <a:pt x="58" y="87"/>
                    <a:pt x="58" y="87"/>
                    <a:pt x="58" y="87"/>
                  </a:cubicBezTo>
                  <a:cubicBezTo>
                    <a:pt x="44" y="87"/>
                    <a:pt x="44" y="87"/>
                    <a:pt x="44" y="87"/>
                  </a:cubicBezTo>
                  <a:cubicBezTo>
                    <a:pt x="43" y="87"/>
                    <a:pt x="42" y="87"/>
                    <a:pt x="41" y="87"/>
                  </a:cubicBezTo>
                  <a:cubicBezTo>
                    <a:pt x="18" y="85"/>
                    <a:pt x="0" y="65"/>
                    <a:pt x="0" y="42"/>
                  </a:cubicBezTo>
                  <a:cubicBezTo>
                    <a:pt x="0" y="30"/>
                    <a:pt x="5" y="20"/>
                    <a:pt x="13" y="12"/>
                  </a:cubicBezTo>
                  <a:cubicBezTo>
                    <a:pt x="20" y="5"/>
                    <a:pt x="30" y="1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2" y="0"/>
                    <a:pt x="43" y="0"/>
                    <a:pt x="44" y="0"/>
                  </a:cubicBezTo>
                  <a:lnTo>
                    <a:pt x="47" y="0"/>
                  </a:lnTo>
                  <a:close/>
                </a:path>
              </a:pathLst>
            </a:custGeom>
            <a:solidFill>
              <a:srgbClr val="FCBB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" name="ïṩliḑè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105275" y="4213225"/>
              <a:ext cx="758825" cy="139700"/>
            </a:xfrm>
            <a:prstGeom prst="rect">
              <a:avLst/>
            </a:prstGeom>
            <a:solidFill>
              <a:srgbClr val="0813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" name="îṧ1îḋ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3846513" y="5519738"/>
              <a:ext cx="0" cy="53975"/>
            </a:xfrm>
            <a:custGeom>
              <a:avLst/>
              <a:gdLst>
                <a:gd name="T0" fmla="*/ 0 h 34"/>
                <a:gd name="T1" fmla="*/ 34 h 34"/>
                <a:gd name="T2" fmla="*/ 0 h 3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4">
                  <a:moveTo>
                    <a:pt x="0" y="0"/>
                  </a:moveTo>
                  <a:lnTo>
                    <a:pt x="0" y="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13D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" name="ïşļïďé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3846513" y="5519738"/>
              <a:ext cx="0" cy="53975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" name="ï$1iďè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008813" y="4225925"/>
              <a:ext cx="696913" cy="139700"/>
            </a:xfrm>
            <a:prstGeom prst="rect">
              <a:avLst/>
            </a:prstGeom>
            <a:solidFill>
              <a:srgbClr val="716F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" name="î$ļíḋ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593013" y="3748088"/>
              <a:ext cx="157163" cy="1973262"/>
            </a:xfrm>
            <a:prstGeom prst="rect">
              <a:avLst/>
            </a:prstGeom>
            <a:solidFill>
              <a:srgbClr val="716F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" name="íş1îḑé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956425" y="3738563"/>
              <a:ext cx="158750" cy="1982787"/>
            </a:xfrm>
            <a:prstGeom prst="rect">
              <a:avLst/>
            </a:prstGeom>
            <a:solidFill>
              <a:srgbClr val="B1AE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" name="iśľiḍé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956425" y="3657600"/>
              <a:ext cx="158750" cy="846137"/>
            </a:xfrm>
            <a:prstGeom prst="rect">
              <a:avLst/>
            </a:prstGeom>
            <a:solidFill>
              <a:srgbClr val="716F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" name="iṧ1iḑ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3214688" y="4225925"/>
              <a:ext cx="695325" cy="139700"/>
            </a:xfrm>
            <a:prstGeom prst="rect">
              <a:avLst/>
            </a:prstGeom>
            <a:solidFill>
              <a:srgbClr val="716F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" name="iSlíḋé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3797300" y="3748088"/>
              <a:ext cx="160338" cy="1973262"/>
            </a:xfrm>
            <a:prstGeom prst="rect">
              <a:avLst/>
            </a:prstGeom>
            <a:solidFill>
              <a:srgbClr val="716F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" name="ïšľïḍè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3162300" y="3738563"/>
              <a:ext cx="160338" cy="1982787"/>
            </a:xfrm>
            <a:prstGeom prst="rect">
              <a:avLst/>
            </a:prstGeom>
            <a:solidFill>
              <a:srgbClr val="716F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" name="îsļidè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089650" y="2422525"/>
              <a:ext cx="522288" cy="1123950"/>
            </a:xfrm>
            <a:prstGeom prst="rect">
              <a:avLst/>
            </a:prstGeom>
            <a:solidFill>
              <a:srgbClr val="5856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" name="ïśliḑé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089650" y="2422525"/>
              <a:ext cx="522288" cy="1123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" name="iŝḻîďe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451475" y="2060575"/>
              <a:ext cx="1716088" cy="1117600"/>
            </a:xfrm>
            <a:custGeom>
              <a:avLst/>
              <a:gdLst>
                <a:gd name="T0" fmla="*/ 837 w 837"/>
                <a:gd name="T1" fmla="*/ 545 h 545"/>
                <a:gd name="T2" fmla="*/ 0 w 837"/>
                <a:gd name="T3" fmla="*/ 545 h 545"/>
                <a:gd name="T4" fmla="*/ 0 w 837"/>
                <a:gd name="T5" fmla="*/ 34 h 545"/>
                <a:gd name="T6" fmla="*/ 33 w 837"/>
                <a:gd name="T7" fmla="*/ 0 h 545"/>
                <a:gd name="T8" fmla="*/ 803 w 837"/>
                <a:gd name="T9" fmla="*/ 0 h 545"/>
                <a:gd name="T10" fmla="*/ 837 w 837"/>
                <a:gd name="T11" fmla="*/ 34 h 545"/>
                <a:gd name="T12" fmla="*/ 837 w 837"/>
                <a:gd name="T13" fmla="*/ 545 h 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7" h="545">
                  <a:moveTo>
                    <a:pt x="837" y="545"/>
                  </a:moveTo>
                  <a:cubicBezTo>
                    <a:pt x="0" y="545"/>
                    <a:pt x="0" y="545"/>
                    <a:pt x="0" y="54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15" y="0"/>
                    <a:pt x="33" y="0"/>
                  </a:cubicBezTo>
                  <a:cubicBezTo>
                    <a:pt x="803" y="0"/>
                    <a:pt x="803" y="0"/>
                    <a:pt x="803" y="0"/>
                  </a:cubicBezTo>
                  <a:cubicBezTo>
                    <a:pt x="822" y="0"/>
                    <a:pt x="837" y="15"/>
                    <a:pt x="837" y="34"/>
                  </a:cubicBezTo>
                  <a:cubicBezTo>
                    <a:pt x="837" y="545"/>
                    <a:pt x="837" y="545"/>
                    <a:pt x="837" y="545"/>
                  </a:cubicBezTo>
                </a:path>
              </a:pathLst>
            </a:custGeom>
            <a:solidFill>
              <a:srgbClr val="DDD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" name="íṣļîḋè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435600" y="3148013"/>
              <a:ext cx="1716088" cy="198437"/>
            </a:xfrm>
            <a:custGeom>
              <a:avLst/>
              <a:gdLst>
                <a:gd name="T0" fmla="*/ 766 w 837"/>
                <a:gd name="T1" fmla="*/ 97 h 97"/>
                <a:gd name="T2" fmla="*/ 70 w 837"/>
                <a:gd name="T3" fmla="*/ 97 h 97"/>
                <a:gd name="T4" fmla="*/ 0 w 837"/>
                <a:gd name="T5" fmla="*/ 27 h 97"/>
                <a:gd name="T6" fmla="*/ 0 w 837"/>
                <a:gd name="T7" fmla="*/ 0 h 97"/>
                <a:gd name="T8" fmla="*/ 837 w 837"/>
                <a:gd name="T9" fmla="*/ 0 h 97"/>
                <a:gd name="T10" fmla="*/ 837 w 837"/>
                <a:gd name="T11" fmla="*/ 27 h 97"/>
                <a:gd name="T12" fmla="*/ 766 w 837"/>
                <a:gd name="T13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7" h="97">
                  <a:moveTo>
                    <a:pt x="766" y="97"/>
                  </a:moveTo>
                  <a:cubicBezTo>
                    <a:pt x="70" y="97"/>
                    <a:pt x="70" y="97"/>
                    <a:pt x="70" y="97"/>
                  </a:cubicBezTo>
                  <a:cubicBezTo>
                    <a:pt x="31" y="97"/>
                    <a:pt x="0" y="66"/>
                    <a:pt x="0" y="2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37" y="0"/>
                    <a:pt x="837" y="0"/>
                    <a:pt x="837" y="0"/>
                  </a:cubicBezTo>
                  <a:cubicBezTo>
                    <a:pt x="837" y="27"/>
                    <a:pt x="837" y="27"/>
                    <a:pt x="837" y="27"/>
                  </a:cubicBezTo>
                  <a:cubicBezTo>
                    <a:pt x="837" y="66"/>
                    <a:pt x="805" y="97"/>
                    <a:pt x="766" y="97"/>
                  </a:cubicBezTo>
                </a:path>
              </a:pathLst>
            </a:custGeom>
            <a:solidFill>
              <a:srgbClr val="DDD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" name="îSļíḓ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392738" y="2060575"/>
              <a:ext cx="1716088" cy="1117600"/>
            </a:xfrm>
            <a:custGeom>
              <a:avLst/>
              <a:gdLst>
                <a:gd name="T0" fmla="*/ 837 w 837"/>
                <a:gd name="T1" fmla="*/ 34 h 545"/>
                <a:gd name="T2" fmla="*/ 837 w 837"/>
                <a:gd name="T3" fmla="*/ 545 h 545"/>
                <a:gd name="T4" fmla="*/ 0 w 837"/>
                <a:gd name="T5" fmla="*/ 545 h 545"/>
                <a:gd name="T6" fmla="*/ 0 w 837"/>
                <a:gd name="T7" fmla="*/ 34 h 545"/>
                <a:gd name="T8" fmla="*/ 33 w 837"/>
                <a:gd name="T9" fmla="*/ 0 h 545"/>
                <a:gd name="T10" fmla="*/ 804 w 837"/>
                <a:gd name="T11" fmla="*/ 0 h 545"/>
                <a:gd name="T12" fmla="*/ 837 w 837"/>
                <a:gd name="T13" fmla="*/ 34 h 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7" h="545">
                  <a:moveTo>
                    <a:pt x="837" y="34"/>
                  </a:moveTo>
                  <a:cubicBezTo>
                    <a:pt x="837" y="545"/>
                    <a:pt x="837" y="545"/>
                    <a:pt x="837" y="545"/>
                  </a:cubicBezTo>
                  <a:cubicBezTo>
                    <a:pt x="0" y="545"/>
                    <a:pt x="0" y="545"/>
                    <a:pt x="0" y="54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15" y="0"/>
                    <a:pt x="33" y="0"/>
                  </a:cubicBezTo>
                  <a:cubicBezTo>
                    <a:pt x="804" y="0"/>
                    <a:pt x="804" y="0"/>
                    <a:pt x="804" y="0"/>
                  </a:cubicBezTo>
                  <a:cubicBezTo>
                    <a:pt x="822" y="0"/>
                    <a:pt x="837" y="15"/>
                    <a:pt x="837" y="34"/>
                  </a:cubicBezTo>
                </a:path>
              </a:pathLst>
            </a:custGeom>
            <a:solidFill>
              <a:srgbClr val="7676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" name="isḻiḍe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454650" y="2122488"/>
              <a:ext cx="1590675" cy="965200"/>
            </a:xfrm>
            <a:custGeom>
              <a:avLst/>
              <a:gdLst>
                <a:gd name="T0" fmla="*/ 776 w 776"/>
                <a:gd name="T1" fmla="*/ 3 h 471"/>
                <a:gd name="T2" fmla="*/ 776 w 776"/>
                <a:gd name="T3" fmla="*/ 468 h 471"/>
                <a:gd name="T4" fmla="*/ 773 w 776"/>
                <a:gd name="T5" fmla="*/ 471 h 471"/>
                <a:gd name="T6" fmla="*/ 3 w 776"/>
                <a:gd name="T7" fmla="*/ 471 h 471"/>
                <a:gd name="T8" fmla="*/ 0 w 776"/>
                <a:gd name="T9" fmla="*/ 468 h 471"/>
                <a:gd name="T10" fmla="*/ 0 w 776"/>
                <a:gd name="T11" fmla="*/ 3 h 471"/>
                <a:gd name="T12" fmla="*/ 3 w 776"/>
                <a:gd name="T13" fmla="*/ 0 h 471"/>
                <a:gd name="T14" fmla="*/ 773 w 776"/>
                <a:gd name="T15" fmla="*/ 0 h 471"/>
                <a:gd name="T16" fmla="*/ 776 w 776"/>
                <a:gd name="T17" fmla="*/ 3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76" h="471">
                  <a:moveTo>
                    <a:pt x="776" y="3"/>
                  </a:moveTo>
                  <a:cubicBezTo>
                    <a:pt x="776" y="468"/>
                    <a:pt x="776" y="468"/>
                    <a:pt x="776" y="468"/>
                  </a:cubicBezTo>
                  <a:cubicBezTo>
                    <a:pt x="776" y="470"/>
                    <a:pt x="775" y="471"/>
                    <a:pt x="773" y="471"/>
                  </a:cubicBezTo>
                  <a:cubicBezTo>
                    <a:pt x="3" y="471"/>
                    <a:pt x="3" y="471"/>
                    <a:pt x="3" y="471"/>
                  </a:cubicBezTo>
                  <a:cubicBezTo>
                    <a:pt x="2" y="471"/>
                    <a:pt x="0" y="470"/>
                    <a:pt x="0" y="46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773" y="0"/>
                    <a:pt x="773" y="0"/>
                    <a:pt x="773" y="0"/>
                  </a:cubicBezTo>
                  <a:cubicBezTo>
                    <a:pt x="775" y="0"/>
                    <a:pt x="776" y="1"/>
                    <a:pt x="776" y="3"/>
                  </a:cubicBezTo>
                </a:path>
              </a:pathLst>
            </a:custGeom>
            <a:solidFill>
              <a:srgbClr val="1F34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" name="isḷîḋè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392738" y="3148013"/>
              <a:ext cx="1716088" cy="198437"/>
            </a:xfrm>
            <a:custGeom>
              <a:avLst/>
              <a:gdLst>
                <a:gd name="T0" fmla="*/ 837 w 837"/>
                <a:gd name="T1" fmla="*/ 0 h 97"/>
                <a:gd name="T2" fmla="*/ 837 w 837"/>
                <a:gd name="T3" fmla="*/ 27 h 97"/>
                <a:gd name="T4" fmla="*/ 796 w 837"/>
                <a:gd name="T5" fmla="*/ 91 h 97"/>
                <a:gd name="T6" fmla="*/ 766 w 837"/>
                <a:gd name="T7" fmla="*/ 97 h 97"/>
                <a:gd name="T8" fmla="*/ 70 w 837"/>
                <a:gd name="T9" fmla="*/ 97 h 97"/>
                <a:gd name="T10" fmla="*/ 0 w 837"/>
                <a:gd name="T11" fmla="*/ 27 h 97"/>
                <a:gd name="T12" fmla="*/ 0 w 837"/>
                <a:gd name="T13" fmla="*/ 0 h 97"/>
                <a:gd name="T14" fmla="*/ 837 w 837"/>
                <a:gd name="T15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37" h="97">
                  <a:moveTo>
                    <a:pt x="837" y="0"/>
                  </a:moveTo>
                  <a:cubicBezTo>
                    <a:pt x="837" y="27"/>
                    <a:pt x="837" y="27"/>
                    <a:pt x="837" y="27"/>
                  </a:cubicBezTo>
                  <a:cubicBezTo>
                    <a:pt x="837" y="55"/>
                    <a:pt x="820" y="79"/>
                    <a:pt x="796" y="91"/>
                  </a:cubicBezTo>
                  <a:cubicBezTo>
                    <a:pt x="787" y="95"/>
                    <a:pt x="777" y="97"/>
                    <a:pt x="766" y="97"/>
                  </a:cubicBezTo>
                  <a:cubicBezTo>
                    <a:pt x="70" y="97"/>
                    <a:pt x="70" y="97"/>
                    <a:pt x="70" y="97"/>
                  </a:cubicBezTo>
                  <a:cubicBezTo>
                    <a:pt x="31" y="97"/>
                    <a:pt x="0" y="66"/>
                    <a:pt x="0" y="2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37" y="0"/>
                    <a:pt x="837" y="0"/>
                    <a:pt x="837" y="0"/>
                  </a:cubicBezTo>
                </a:path>
              </a:pathLst>
            </a:custGeom>
            <a:solidFill>
              <a:srgbClr val="ABA9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" name="îSľîḋé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546725" y="2238375"/>
              <a:ext cx="533400" cy="19050"/>
            </a:xfrm>
            <a:prstGeom prst="rect">
              <a:avLst/>
            </a:prstGeom>
            <a:solidFill>
              <a:srgbClr val="6E89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" name="ïśḻíḓé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310313" y="2238375"/>
              <a:ext cx="252413" cy="19050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" name="ïsḷíḍe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675438" y="2238375"/>
              <a:ext cx="252413" cy="19050"/>
            </a:xfrm>
            <a:prstGeom prst="rect">
              <a:avLst/>
            </a:prstGeom>
            <a:solidFill>
              <a:srgbClr val="FFC5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" name="îṩľîďé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584950" y="2238375"/>
              <a:ext cx="60325" cy="19050"/>
            </a:xfrm>
            <a:prstGeom prst="rect">
              <a:avLst/>
            </a:prstGeom>
            <a:solidFill>
              <a:srgbClr val="6E89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" name="îslîḑ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103938" y="2238375"/>
              <a:ext cx="177800" cy="19050"/>
            </a:xfrm>
            <a:prstGeom prst="rect">
              <a:avLst/>
            </a:prstGeom>
            <a:solidFill>
              <a:srgbClr val="EA54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" name="îṣľiďè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546725" y="2713038"/>
              <a:ext cx="533400" cy="17462"/>
            </a:xfrm>
            <a:prstGeom prst="rect">
              <a:avLst/>
            </a:prstGeom>
            <a:solidFill>
              <a:srgbClr val="6E89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" name="ïSḷiḑé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310313" y="2713038"/>
              <a:ext cx="252413" cy="17462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" name="ïṧľíḍè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675438" y="2713038"/>
              <a:ext cx="252413" cy="17462"/>
            </a:xfrm>
            <a:prstGeom prst="rect">
              <a:avLst/>
            </a:prstGeom>
            <a:solidFill>
              <a:srgbClr val="FFC5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" name="íṧḷîď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584950" y="2713038"/>
              <a:ext cx="60325" cy="17462"/>
            </a:xfrm>
            <a:prstGeom prst="rect">
              <a:avLst/>
            </a:prstGeom>
            <a:solidFill>
              <a:srgbClr val="6E89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" name="ïs1ïďe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103938" y="2713038"/>
              <a:ext cx="177800" cy="17462"/>
            </a:xfrm>
            <a:prstGeom prst="rect">
              <a:avLst/>
            </a:prstGeom>
            <a:solidFill>
              <a:srgbClr val="A29F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" name="í$ḷiḓe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394450" y="2554288"/>
              <a:ext cx="533400" cy="19050"/>
            </a:xfrm>
            <a:prstGeom prst="rect">
              <a:avLst/>
            </a:prstGeom>
            <a:solidFill>
              <a:srgbClr val="6E89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" name="íṥ1îḍè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911850" y="2554288"/>
              <a:ext cx="250825" cy="19050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" name="íṣḷïḑe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546725" y="2554288"/>
              <a:ext cx="252413" cy="19050"/>
            </a:xfrm>
            <a:prstGeom prst="rect">
              <a:avLst/>
            </a:prstGeom>
            <a:solidFill>
              <a:srgbClr val="FFC5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" name="iṡḷïḋ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829300" y="2554288"/>
              <a:ext cx="58738" cy="19050"/>
            </a:xfrm>
            <a:prstGeom prst="rect">
              <a:avLst/>
            </a:prstGeom>
            <a:solidFill>
              <a:srgbClr val="6E89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" name="işḷîḋ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192838" y="2554288"/>
              <a:ext cx="177800" cy="19050"/>
            </a:xfrm>
            <a:prstGeom prst="rect">
              <a:avLst/>
            </a:prstGeom>
            <a:solidFill>
              <a:srgbClr val="A29F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" name="is1îḓè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546725" y="2319338"/>
              <a:ext cx="200025" cy="17462"/>
            </a:xfrm>
            <a:prstGeom prst="rect">
              <a:avLst/>
            </a:prstGeom>
            <a:solidFill>
              <a:srgbClr val="EA54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" name="îṧ1íď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145213" y="2319338"/>
              <a:ext cx="85725" cy="17462"/>
            </a:xfrm>
            <a:prstGeom prst="rect">
              <a:avLst/>
            </a:prstGeom>
            <a:solidFill>
              <a:srgbClr val="6E89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" name="išľíḋè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510338" y="2319338"/>
              <a:ext cx="417513" cy="17462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ïşľïḓé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253163" y="2319338"/>
              <a:ext cx="225425" cy="17462"/>
            </a:xfrm>
            <a:prstGeom prst="rect">
              <a:avLst/>
            </a:prstGeom>
            <a:solidFill>
              <a:srgbClr val="6E89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" name="íś1ïď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772150" y="2319338"/>
              <a:ext cx="341313" cy="17462"/>
            </a:xfrm>
            <a:prstGeom prst="rect">
              <a:avLst/>
            </a:prstGeom>
            <a:solidFill>
              <a:srgbClr val="6E89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íŝliḍè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546725" y="2790825"/>
              <a:ext cx="200025" cy="17462"/>
            </a:xfrm>
            <a:prstGeom prst="rect">
              <a:avLst/>
            </a:prstGeom>
            <a:solidFill>
              <a:srgbClr val="6E89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" name="íṣḷíḋ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145213" y="2790825"/>
              <a:ext cx="85725" cy="17462"/>
            </a:xfrm>
            <a:prstGeom prst="rect">
              <a:avLst/>
            </a:prstGeom>
            <a:solidFill>
              <a:srgbClr val="6E89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iṧľïḓè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510338" y="2790825"/>
              <a:ext cx="417513" cy="17462"/>
            </a:xfrm>
            <a:prstGeom prst="rect">
              <a:avLst/>
            </a:prstGeom>
            <a:solidFill>
              <a:srgbClr val="6E89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íŝḷíḑè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253163" y="2790825"/>
              <a:ext cx="225425" cy="17462"/>
            </a:xfrm>
            <a:prstGeom prst="rect">
              <a:avLst/>
            </a:prstGeom>
            <a:solidFill>
              <a:srgbClr val="6E89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í$ľîḋé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772150" y="2790825"/>
              <a:ext cx="341313" cy="17462"/>
            </a:xfrm>
            <a:prstGeom prst="rect">
              <a:avLst/>
            </a:prstGeom>
            <a:solidFill>
              <a:srgbClr val="6E89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íŝḷiďe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546725" y="2632075"/>
              <a:ext cx="200025" cy="19050"/>
            </a:xfrm>
            <a:prstGeom prst="rect">
              <a:avLst/>
            </a:prstGeom>
            <a:solidFill>
              <a:srgbClr val="EA54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îşļidé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145213" y="2632075"/>
              <a:ext cx="85725" cy="19050"/>
            </a:xfrm>
            <a:prstGeom prst="rect">
              <a:avLst/>
            </a:prstGeom>
            <a:solidFill>
              <a:srgbClr val="6E89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íṥḷîď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510338" y="2632075"/>
              <a:ext cx="417513" cy="19050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iṩľîḑè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253163" y="2632075"/>
              <a:ext cx="225425" cy="19050"/>
            </a:xfrm>
            <a:prstGeom prst="rect">
              <a:avLst/>
            </a:prstGeom>
            <a:solidFill>
              <a:srgbClr val="6E89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iş1ïḓe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772150" y="2632075"/>
              <a:ext cx="341313" cy="19050"/>
            </a:xfrm>
            <a:prstGeom prst="rect">
              <a:avLst/>
            </a:prstGeom>
            <a:solidFill>
              <a:srgbClr val="6E89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ïṧľíďè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546725" y="2397125"/>
              <a:ext cx="200025" cy="17462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išḷiḍ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772150" y="2397125"/>
              <a:ext cx="341313" cy="17462"/>
            </a:xfrm>
            <a:prstGeom prst="rect">
              <a:avLst/>
            </a:prstGeom>
            <a:solidFill>
              <a:srgbClr val="6E89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ï$ļiďe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915025" y="2474913"/>
              <a:ext cx="198438" cy="17462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îšlîḍ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546725" y="2474913"/>
              <a:ext cx="344488" cy="17462"/>
            </a:xfrm>
            <a:prstGeom prst="rect">
              <a:avLst/>
            </a:prstGeom>
            <a:solidFill>
              <a:srgbClr val="6E89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iŝ1îde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862638" y="3500438"/>
              <a:ext cx="776288" cy="77787"/>
            </a:xfrm>
            <a:custGeom>
              <a:avLst/>
              <a:gdLst>
                <a:gd name="T0" fmla="*/ 360 w 379"/>
                <a:gd name="T1" fmla="*/ 38 h 38"/>
                <a:gd name="T2" fmla="*/ 19 w 379"/>
                <a:gd name="T3" fmla="*/ 38 h 38"/>
                <a:gd name="T4" fmla="*/ 0 w 379"/>
                <a:gd name="T5" fmla="*/ 19 h 38"/>
                <a:gd name="T6" fmla="*/ 19 w 379"/>
                <a:gd name="T7" fmla="*/ 0 h 38"/>
                <a:gd name="T8" fmla="*/ 360 w 379"/>
                <a:gd name="T9" fmla="*/ 0 h 38"/>
                <a:gd name="T10" fmla="*/ 379 w 379"/>
                <a:gd name="T11" fmla="*/ 19 h 38"/>
                <a:gd name="T12" fmla="*/ 360 w 379"/>
                <a:gd name="T13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9" h="38">
                  <a:moveTo>
                    <a:pt x="360" y="38"/>
                  </a:moveTo>
                  <a:cubicBezTo>
                    <a:pt x="19" y="38"/>
                    <a:pt x="19" y="38"/>
                    <a:pt x="19" y="38"/>
                  </a:cubicBezTo>
                  <a:cubicBezTo>
                    <a:pt x="8" y="38"/>
                    <a:pt x="0" y="29"/>
                    <a:pt x="0" y="19"/>
                  </a:cubicBezTo>
                  <a:cubicBezTo>
                    <a:pt x="0" y="8"/>
                    <a:pt x="8" y="0"/>
                    <a:pt x="19" y="0"/>
                  </a:cubicBezTo>
                  <a:cubicBezTo>
                    <a:pt x="360" y="0"/>
                    <a:pt x="360" y="0"/>
                    <a:pt x="360" y="0"/>
                  </a:cubicBezTo>
                  <a:cubicBezTo>
                    <a:pt x="371" y="0"/>
                    <a:pt x="379" y="8"/>
                    <a:pt x="379" y="19"/>
                  </a:cubicBezTo>
                  <a:cubicBezTo>
                    <a:pt x="379" y="29"/>
                    <a:pt x="371" y="38"/>
                    <a:pt x="360" y="38"/>
                  </a:cubicBezTo>
                  <a:close/>
                </a:path>
              </a:pathLst>
            </a:custGeom>
            <a:solidFill>
              <a:srgbClr val="4A4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iŝlíḋè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680075" y="3570288"/>
              <a:ext cx="2205038" cy="177800"/>
            </a:xfrm>
            <a:custGeom>
              <a:avLst/>
              <a:gdLst>
                <a:gd name="T0" fmla="*/ 1076 w 1076"/>
                <a:gd name="T1" fmla="*/ 87 h 87"/>
                <a:gd name="T2" fmla="*/ 0 w 1076"/>
                <a:gd name="T3" fmla="*/ 87 h 87"/>
                <a:gd name="T4" fmla="*/ 0 w 1076"/>
                <a:gd name="T5" fmla="*/ 31 h 87"/>
                <a:gd name="T6" fmla="*/ 30 w 1076"/>
                <a:gd name="T7" fmla="*/ 0 h 87"/>
                <a:gd name="T8" fmla="*/ 1046 w 1076"/>
                <a:gd name="T9" fmla="*/ 0 h 87"/>
                <a:gd name="T10" fmla="*/ 1076 w 1076"/>
                <a:gd name="T11" fmla="*/ 31 h 87"/>
                <a:gd name="T12" fmla="*/ 1076 w 1076"/>
                <a:gd name="T13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6" h="87">
                  <a:moveTo>
                    <a:pt x="1076" y="87"/>
                  </a:moveTo>
                  <a:cubicBezTo>
                    <a:pt x="0" y="87"/>
                    <a:pt x="0" y="87"/>
                    <a:pt x="0" y="87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14"/>
                    <a:pt x="13" y="0"/>
                    <a:pt x="30" y="0"/>
                  </a:cubicBezTo>
                  <a:cubicBezTo>
                    <a:pt x="1046" y="0"/>
                    <a:pt x="1046" y="0"/>
                    <a:pt x="1046" y="0"/>
                  </a:cubicBezTo>
                  <a:cubicBezTo>
                    <a:pt x="1062" y="0"/>
                    <a:pt x="1076" y="14"/>
                    <a:pt x="1076" y="31"/>
                  </a:cubicBezTo>
                  <a:lnTo>
                    <a:pt x="1076" y="87"/>
                  </a:lnTo>
                  <a:close/>
                </a:path>
              </a:pathLst>
            </a:custGeom>
            <a:solidFill>
              <a:srgbClr val="E792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í$ļíḑe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2994025" y="3570288"/>
              <a:ext cx="4248150" cy="177800"/>
            </a:xfrm>
            <a:custGeom>
              <a:avLst/>
              <a:gdLst>
                <a:gd name="T0" fmla="*/ 2072 w 2072"/>
                <a:gd name="T1" fmla="*/ 31 h 87"/>
                <a:gd name="T2" fmla="*/ 2072 w 2072"/>
                <a:gd name="T3" fmla="*/ 87 h 87"/>
                <a:gd name="T4" fmla="*/ 0 w 2072"/>
                <a:gd name="T5" fmla="*/ 87 h 87"/>
                <a:gd name="T6" fmla="*/ 0 w 2072"/>
                <a:gd name="T7" fmla="*/ 31 h 87"/>
                <a:gd name="T8" fmla="*/ 30 w 2072"/>
                <a:gd name="T9" fmla="*/ 0 h 87"/>
                <a:gd name="T10" fmla="*/ 2042 w 2072"/>
                <a:gd name="T11" fmla="*/ 0 h 87"/>
                <a:gd name="T12" fmla="*/ 2072 w 2072"/>
                <a:gd name="T13" fmla="*/ 3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72" h="87">
                  <a:moveTo>
                    <a:pt x="2072" y="31"/>
                  </a:moveTo>
                  <a:cubicBezTo>
                    <a:pt x="2072" y="87"/>
                    <a:pt x="2072" y="87"/>
                    <a:pt x="2072" y="87"/>
                  </a:cubicBezTo>
                  <a:cubicBezTo>
                    <a:pt x="0" y="87"/>
                    <a:pt x="0" y="87"/>
                    <a:pt x="0" y="87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14"/>
                    <a:pt x="14" y="0"/>
                    <a:pt x="30" y="0"/>
                  </a:cubicBezTo>
                  <a:cubicBezTo>
                    <a:pt x="2042" y="0"/>
                    <a:pt x="2042" y="0"/>
                    <a:pt x="2042" y="0"/>
                  </a:cubicBezTo>
                  <a:cubicBezTo>
                    <a:pt x="2059" y="0"/>
                    <a:pt x="2072" y="14"/>
                    <a:pt x="2072" y="31"/>
                  </a:cubicBezTo>
                  <a:close/>
                </a:path>
              </a:pathLst>
            </a:custGeom>
            <a:solidFill>
              <a:srgbClr val="A548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iš1îďè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865688" y="3570288"/>
              <a:ext cx="1147763" cy="177800"/>
            </a:xfrm>
            <a:custGeom>
              <a:avLst/>
              <a:gdLst>
                <a:gd name="T0" fmla="*/ 560 w 560"/>
                <a:gd name="T1" fmla="*/ 0 h 87"/>
                <a:gd name="T2" fmla="*/ 507 w 560"/>
                <a:gd name="T3" fmla="*/ 87 h 87"/>
                <a:gd name="T4" fmla="*/ 0 w 560"/>
                <a:gd name="T5" fmla="*/ 87 h 87"/>
                <a:gd name="T6" fmla="*/ 7 w 560"/>
                <a:gd name="T7" fmla="*/ 0 h 87"/>
                <a:gd name="T8" fmla="*/ 560 w 560"/>
                <a:gd name="T9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0" h="87">
                  <a:moveTo>
                    <a:pt x="560" y="0"/>
                  </a:moveTo>
                  <a:cubicBezTo>
                    <a:pt x="543" y="27"/>
                    <a:pt x="524" y="59"/>
                    <a:pt x="507" y="87"/>
                  </a:cubicBezTo>
                  <a:cubicBezTo>
                    <a:pt x="0" y="87"/>
                    <a:pt x="0" y="87"/>
                    <a:pt x="0" y="87"/>
                  </a:cubicBezTo>
                  <a:cubicBezTo>
                    <a:pt x="7" y="0"/>
                    <a:pt x="7" y="0"/>
                    <a:pt x="7" y="0"/>
                  </a:cubicBezTo>
                  <a:lnTo>
                    <a:pt x="560" y="0"/>
                  </a:lnTo>
                  <a:close/>
                </a:path>
              </a:pathLst>
            </a:custGeom>
            <a:solidFill>
              <a:srgbClr val="843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ïsḻïḋ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8107363" y="4352925"/>
              <a:ext cx="1090613" cy="1368425"/>
            </a:xfrm>
            <a:prstGeom prst="rect">
              <a:avLst/>
            </a:prstGeom>
            <a:solidFill>
              <a:srgbClr val="7F39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" name="ïśľíḋè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720013" y="4352925"/>
              <a:ext cx="1073150" cy="1368425"/>
            </a:xfrm>
            <a:prstGeom prst="rect">
              <a:avLst/>
            </a:prstGeom>
            <a:solidFill>
              <a:srgbClr val="6E38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" name="íṥḷïdé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707313" y="4456113"/>
              <a:ext cx="1019175" cy="368300"/>
            </a:xfrm>
            <a:prstGeom prst="rect">
              <a:avLst/>
            </a:prstGeom>
            <a:solidFill>
              <a:srgbClr val="DF7D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îṩḻiḓ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707313" y="4891088"/>
              <a:ext cx="1019175" cy="368300"/>
            </a:xfrm>
            <a:prstGeom prst="rect">
              <a:avLst/>
            </a:prstGeom>
            <a:solidFill>
              <a:srgbClr val="DF7D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íṡľiḍé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707313" y="5326063"/>
              <a:ext cx="1019175" cy="395287"/>
            </a:xfrm>
            <a:prstGeom prst="rect">
              <a:avLst/>
            </a:prstGeom>
            <a:solidFill>
              <a:srgbClr val="DF7D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ïṡḷîḓ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8010525" y="4619625"/>
              <a:ext cx="295275" cy="41275"/>
            </a:xfrm>
            <a:custGeom>
              <a:avLst/>
              <a:gdLst>
                <a:gd name="T0" fmla="*/ 10 w 144"/>
                <a:gd name="T1" fmla="*/ 20 h 20"/>
                <a:gd name="T2" fmla="*/ 134 w 144"/>
                <a:gd name="T3" fmla="*/ 20 h 20"/>
                <a:gd name="T4" fmla="*/ 144 w 144"/>
                <a:gd name="T5" fmla="*/ 10 h 20"/>
                <a:gd name="T6" fmla="*/ 134 w 144"/>
                <a:gd name="T7" fmla="*/ 0 h 20"/>
                <a:gd name="T8" fmla="*/ 10 w 144"/>
                <a:gd name="T9" fmla="*/ 0 h 20"/>
                <a:gd name="T10" fmla="*/ 0 w 144"/>
                <a:gd name="T11" fmla="*/ 10 h 20"/>
                <a:gd name="T12" fmla="*/ 10 w 144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" h="20">
                  <a:moveTo>
                    <a:pt x="10" y="20"/>
                  </a:moveTo>
                  <a:cubicBezTo>
                    <a:pt x="134" y="20"/>
                    <a:pt x="134" y="20"/>
                    <a:pt x="134" y="20"/>
                  </a:cubicBezTo>
                  <a:cubicBezTo>
                    <a:pt x="140" y="20"/>
                    <a:pt x="144" y="15"/>
                    <a:pt x="144" y="10"/>
                  </a:cubicBezTo>
                  <a:cubicBezTo>
                    <a:pt x="144" y="5"/>
                    <a:pt x="140" y="0"/>
                    <a:pt x="134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5" y="0"/>
                    <a:pt x="0" y="5"/>
                    <a:pt x="0" y="10"/>
                  </a:cubicBezTo>
                  <a:cubicBezTo>
                    <a:pt x="0" y="15"/>
                    <a:pt x="5" y="20"/>
                    <a:pt x="10" y="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isľíḍe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8002588" y="5053013"/>
              <a:ext cx="293688" cy="38100"/>
            </a:xfrm>
            <a:custGeom>
              <a:avLst/>
              <a:gdLst>
                <a:gd name="T0" fmla="*/ 9 w 143"/>
                <a:gd name="T1" fmla="*/ 19 h 19"/>
                <a:gd name="T2" fmla="*/ 133 w 143"/>
                <a:gd name="T3" fmla="*/ 19 h 19"/>
                <a:gd name="T4" fmla="*/ 143 w 143"/>
                <a:gd name="T5" fmla="*/ 9 h 19"/>
                <a:gd name="T6" fmla="*/ 133 w 143"/>
                <a:gd name="T7" fmla="*/ 0 h 19"/>
                <a:gd name="T8" fmla="*/ 9 w 143"/>
                <a:gd name="T9" fmla="*/ 0 h 19"/>
                <a:gd name="T10" fmla="*/ 0 w 143"/>
                <a:gd name="T11" fmla="*/ 9 h 19"/>
                <a:gd name="T12" fmla="*/ 9 w 143"/>
                <a:gd name="T1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3" h="19">
                  <a:moveTo>
                    <a:pt x="9" y="19"/>
                  </a:moveTo>
                  <a:cubicBezTo>
                    <a:pt x="133" y="19"/>
                    <a:pt x="133" y="19"/>
                    <a:pt x="133" y="19"/>
                  </a:cubicBezTo>
                  <a:cubicBezTo>
                    <a:pt x="139" y="19"/>
                    <a:pt x="143" y="15"/>
                    <a:pt x="143" y="9"/>
                  </a:cubicBezTo>
                  <a:cubicBezTo>
                    <a:pt x="143" y="4"/>
                    <a:pt x="139" y="0"/>
                    <a:pt x="133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5"/>
                    <a:pt x="4" y="19"/>
                    <a:pt x="9" y="1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iṧḻíď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8002588" y="5483225"/>
              <a:ext cx="293688" cy="39687"/>
            </a:xfrm>
            <a:custGeom>
              <a:avLst/>
              <a:gdLst>
                <a:gd name="T0" fmla="*/ 9 w 143"/>
                <a:gd name="T1" fmla="*/ 19 h 19"/>
                <a:gd name="T2" fmla="*/ 133 w 143"/>
                <a:gd name="T3" fmla="*/ 19 h 19"/>
                <a:gd name="T4" fmla="*/ 143 w 143"/>
                <a:gd name="T5" fmla="*/ 10 h 19"/>
                <a:gd name="T6" fmla="*/ 133 w 143"/>
                <a:gd name="T7" fmla="*/ 0 h 19"/>
                <a:gd name="T8" fmla="*/ 9 w 143"/>
                <a:gd name="T9" fmla="*/ 0 h 19"/>
                <a:gd name="T10" fmla="*/ 0 w 143"/>
                <a:gd name="T11" fmla="*/ 10 h 19"/>
                <a:gd name="T12" fmla="*/ 9 w 143"/>
                <a:gd name="T1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3" h="19">
                  <a:moveTo>
                    <a:pt x="9" y="19"/>
                  </a:moveTo>
                  <a:cubicBezTo>
                    <a:pt x="133" y="19"/>
                    <a:pt x="133" y="19"/>
                    <a:pt x="133" y="19"/>
                  </a:cubicBezTo>
                  <a:cubicBezTo>
                    <a:pt x="139" y="19"/>
                    <a:pt x="143" y="15"/>
                    <a:pt x="143" y="10"/>
                  </a:cubicBezTo>
                  <a:cubicBezTo>
                    <a:pt x="143" y="5"/>
                    <a:pt x="139" y="0"/>
                    <a:pt x="133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" name="íśḷíďé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230813" y="5613400"/>
              <a:ext cx="565150" cy="198437"/>
            </a:xfrm>
            <a:custGeom>
              <a:avLst/>
              <a:gdLst>
                <a:gd name="T0" fmla="*/ 0 w 276"/>
                <a:gd name="T1" fmla="*/ 94 h 97"/>
                <a:gd name="T2" fmla="*/ 249 w 276"/>
                <a:gd name="T3" fmla="*/ 97 h 97"/>
                <a:gd name="T4" fmla="*/ 276 w 276"/>
                <a:gd name="T5" fmla="*/ 70 h 97"/>
                <a:gd name="T6" fmla="*/ 258 w 276"/>
                <a:gd name="T7" fmla="*/ 45 h 97"/>
                <a:gd name="T8" fmla="*/ 135 w 276"/>
                <a:gd name="T9" fmla="*/ 0 h 97"/>
                <a:gd name="T10" fmla="*/ 1 w 276"/>
                <a:gd name="T11" fmla="*/ 2 h 97"/>
                <a:gd name="T12" fmla="*/ 0 w 276"/>
                <a:gd name="T13" fmla="*/ 94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6" h="97">
                  <a:moveTo>
                    <a:pt x="0" y="94"/>
                  </a:moveTo>
                  <a:cubicBezTo>
                    <a:pt x="249" y="97"/>
                    <a:pt x="249" y="97"/>
                    <a:pt x="249" y="97"/>
                  </a:cubicBezTo>
                  <a:cubicBezTo>
                    <a:pt x="263" y="97"/>
                    <a:pt x="276" y="85"/>
                    <a:pt x="276" y="70"/>
                  </a:cubicBezTo>
                  <a:cubicBezTo>
                    <a:pt x="276" y="59"/>
                    <a:pt x="269" y="48"/>
                    <a:pt x="258" y="45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" y="2"/>
                    <a:pt x="1" y="2"/>
                    <a:pt x="1" y="2"/>
                  </a:cubicBezTo>
                  <a:lnTo>
                    <a:pt x="0" y="94"/>
                  </a:lnTo>
                  <a:close/>
                </a:path>
              </a:pathLst>
            </a:custGeom>
            <a:solidFill>
              <a:srgbClr val="7F39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îŝľiḑ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233988" y="5786438"/>
              <a:ext cx="554038" cy="39687"/>
            </a:xfrm>
            <a:custGeom>
              <a:avLst/>
              <a:gdLst>
                <a:gd name="T0" fmla="*/ 251 w 270"/>
                <a:gd name="T1" fmla="*/ 19 h 19"/>
                <a:gd name="T2" fmla="*/ 0 w 270"/>
                <a:gd name="T3" fmla="*/ 18 h 19"/>
                <a:gd name="T4" fmla="*/ 0 w 270"/>
                <a:gd name="T5" fmla="*/ 0 h 19"/>
                <a:gd name="T6" fmla="*/ 270 w 270"/>
                <a:gd name="T7" fmla="*/ 1 h 19"/>
                <a:gd name="T8" fmla="*/ 251 w 270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0" h="19">
                  <a:moveTo>
                    <a:pt x="251" y="19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70" y="1"/>
                    <a:pt x="270" y="1"/>
                    <a:pt x="270" y="1"/>
                  </a:cubicBezTo>
                  <a:cubicBezTo>
                    <a:pt x="270" y="11"/>
                    <a:pt x="261" y="19"/>
                    <a:pt x="251" y="19"/>
                  </a:cubicBezTo>
                  <a:close/>
                </a:path>
              </a:pathLst>
            </a:custGeom>
            <a:solidFill>
              <a:srgbClr val="0813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îŝḷïḓ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 flipV="1">
              <a:off x="5500688" y="5624513"/>
              <a:ext cx="60325" cy="63500"/>
            </a:xfrm>
            <a:prstGeom prst="line">
              <a:avLst/>
            </a:prstGeom>
            <a:noFill/>
            <a:ln w="11113" cap="rnd">
              <a:solidFill>
                <a:srgbClr val="08134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îṣḷïḓ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 flipV="1">
              <a:off x="5546725" y="5643563"/>
              <a:ext cx="58738" cy="63500"/>
            </a:xfrm>
            <a:prstGeom prst="line">
              <a:avLst/>
            </a:prstGeom>
            <a:noFill/>
            <a:ln w="11113" cap="rnd">
              <a:solidFill>
                <a:srgbClr val="08134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íṡ1ïd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 flipV="1">
              <a:off x="5588000" y="5659438"/>
              <a:ext cx="66675" cy="71437"/>
            </a:xfrm>
            <a:prstGeom prst="line">
              <a:avLst/>
            </a:prstGeom>
            <a:noFill/>
            <a:ln w="11113" cap="rnd">
              <a:solidFill>
                <a:srgbClr val="08134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ïsľíďe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535488" y="4075113"/>
              <a:ext cx="1023938" cy="1562100"/>
            </a:xfrm>
            <a:custGeom>
              <a:avLst/>
              <a:gdLst>
                <a:gd name="T0" fmla="*/ 330 w 499"/>
                <a:gd name="T1" fmla="*/ 762 h 762"/>
                <a:gd name="T2" fmla="*/ 322 w 499"/>
                <a:gd name="T3" fmla="*/ 250 h 762"/>
                <a:gd name="T4" fmla="*/ 0 w 499"/>
                <a:gd name="T5" fmla="*/ 154 h 762"/>
                <a:gd name="T6" fmla="*/ 71 w 499"/>
                <a:gd name="T7" fmla="*/ 0 h 762"/>
                <a:gd name="T8" fmla="*/ 460 w 499"/>
                <a:gd name="T9" fmla="*/ 169 h 762"/>
                <a:gd name="T10" fmla="*/ 490 w 499"/>
                <a:gd name="T11" fmla="*/ 524 h 762"/>
                <a:gd name="T12" fmla="*/ 478 w 499"/>
                <a:gd name="T13" fmla="*/ 756 h 762"/>
                <a:gd name="T14" fmla="*/ 330 w 499"/>
                <a:gd name="T15" fmla="*/ 762 h 7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9" h="762">
                  <a:moveTo>
                    <a:pt x="330" y="762"/>
                  </a:moveTo>
                  <a:cubicBezTo>
                    <a:pt x="345" y="520"/>
                    <a:pt x="341" y="295"/>
                    <a:pt x="322" y="250"/>
                  </a:cubicBezTo>
                  <a:cubicBezTo>
                    <a:pt x="303" y="222"/>
                    <a:pt x="151" y="160"/>
                    <a:pt x="0" y="154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269" y="10"/>
                    <a:pt x="411" y="84"/>
                    <a:pt x="460" y="169"/>
                  </a:cubicBezTo>
                  <a:cubicBezTo>
                    <a:pt x="481" y="205"/>
                    <a:pt x="499" y="277"/>
                    <a:pt x="490" y="524"/>
                  </a:cubicBezTo>
                  <a:cubicBezTo>
                    <a:pt x="484" y="654"/>
                    <a:pt x="478" y="756"/>
                    <a:pt x="478" y="756"/>
                  </a:cubicBezTo>
                  <a:lnTo>
                    <a:pt x="330" y="762"/>
                  </a:lnTo>
                  <a:close/>
                </a:path>
              </a:pathLst>
            </a:custGeom>
            <a:solidFill>
              <a:srgbClr val="1C1C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ïṩľide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683250" y="5624513"/>
              <a:ext cx="566738" cy="196850"/>
            </a:xfrm>
            <a:custGeom>
              <a:avLst/>
              <a:gdLst>
                <a:gd name="T0" fmla="*/ 0 w 276"/>
                <a:gd name="T1" fmla="*/ 94 h 96"/>
                <a:gd name="T2" fmla="*/ 249 w 276"/>
                <a:gd name="T3" fmla="*/ 96 h 96"/>
                <a:gd name="T4" fmla="*/ 276 w 276"/>
                <a:gd name="T5" fmla="*/ 69 h 96"/>
                <a:gd name="T6" fmla="*/ 258 w 276"/>
                <a:gd name="T7" fmla="*/ 44 h 96"/>
                <a:gd name="T8" fmla="*/ 135 w 276"/>
                <a:gd name="T9" fmla="*/ 0 h 96"/>
                <a:gd name="T10" fmla="*/ 1 w 276"/>
                <a:gd name="T11" fmla="*/ 2 h 96"/>
                <a:gd name="T12" fmla="*/ 0 w 276"/>
                <a:gd name="T13" fmla="*/ 9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6" h="96">
                  <a:moveTo>
                    <a:pt x="0" y="94"/>
                  </a:moveTo>
                  <a:cubicBezTo>
                    <a:pt x="249" y="96"/>
                    <a:pt x="249" y="96"/>
                    <a:pt x="249" y="96"/>
                  </a:cubicBezTo>
                  <a:cubicBezTo>
                    <a:pt x="264" y="96"/>
                    <a:pt x="276" y="84"/>
                    <a:pt x="276" y="69"/>
                  </a:cubicBezTo>
                  <a:cubicBezTo>
                    <a:pt x="276" y="58"/>
                    <a:pt x="269" y="48"/>
                    <a:pt x="258" y="44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" y="2"/>
                    <a:pt x="1" y="2"/>
                    <a:pt x="1" y="2"/>
                  </a:cubicBezTo>
                  <a:lnTo>
                    <a:pt x="0" y="94"/>
                  </a:lnTo>
                  <a:close/>
                </a:path>
              </a:pathLst>
            </a:custGeom>
            <a:solidFill>
              <a:srgbClr val="A052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îšļîḓé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680075" y="5799138"/>
              <a:ext cx="561975" cy="36512"/>
            </a:xfrm>
            <a:custGeom>
              <a:avLst/>
              <a:gdLst>
                <a:gd name="T0" fmla="*/ 256 w 274"/>
                <a:gd name="T1" fmla="*/ 18 h 18"/>
                <a:gd name="T2" fmla="*/ 0 w 274"/>
                <a:gd name="T3" fmla="*/ 18 h 18"/>
                <a:gd name="T4" fmla="*/ 0 w 274"/>
                <a:gd name="T5" fmla="*/ 0 h 18"/>
                <a:gd name="T6" fmla="*/ 274 w 274"/>
                <a:gd name="T7" fmla="*/ 0 h 18"/>
                <a:gd name="T8" fmla="*/ 256 w 274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4" h="18">
                  <a:moveTo>
                    <a:pt x="256" y="18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74" y="0"/>
                    <a:pt x="274" y="0"/>
                    <a:pt x="274" y="0"/>
                  </a:cubicBezTo>
                  <a:cubicBezTo>
                    <a:pt x="274" y="10"/>
                    <a:pt x="266" y="18"/>
                    <a:pt x="256" y="18"/>
                  </a:cubicBezTo>
                  <a:close/>
                </a:path>
              </a:pathLst>
            </a:custGeom>
            <a:solidFill>
              <a:srgbClr val="0813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í$1iḓè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 flipV="1">
              <a:off x="5954713" y="5635625"/>
              <a:ext cx="60325" cy="63500"/>
            </a:xfrm>
            <a:prstGeom prst="line">
              <a:avLst/>
            </a:prstGeom>
            <a:noFill/>
            <a:ln w="11113" cap="rnd">
              <a:solidFill>
                <a:srgbClr val="08134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iṡļïdé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 flipV="1">
              <a:off x="5999163" y="5653088"/>
              <a:ext cx="60325" cy="63500"/>
            </a:xfrm>
            <a:prstGeom prst="line">
              <a:avLst/>
            </a:prstGeom>
            <a:noFill/>
            <a:ln w="11113" cap="rnd">
              <a:solidFill>
                <a:srgbClr val="08134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íŝļíḍè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 flipV="1">
              <a:off x="6040438" y="5670550"/>
              <a:ext cx="68263" cy="71437"/>
            </a:xfrm>
            <a:prstGeom prst="line">
              <a:avLst/>
            </a:prstGeom>
            <a:noFill/>
            <a:ln w="11113" cap="rnd">
              <a:solidFill>
                <a:srgbClr val="08134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ísḷîde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987925" y="4075113"/>
              <a:ext cx="1023938" cy="1562100"/>
            </a:xfrm>
            <a:custGeom>
              <a:avLst/>
              <a:gdLst>
                <a:gd name="T0" fmla="*/ 330 w 499"/>
                <a:gd name="T1" fmla="*/ 762 h 762"/>
                <a:gd name="T2" fmla="*/ 322 w 499"/>
                <a:gd name="T3" fmla="*/ 250 h 762"/>
                <a:gd name="T4" fmla="*/ 0 w 499"/>
                <a:gd name="T5" fmla="*/ 154 h 762"/>
                <a:gd name="T6" fmla="*/ 71 w 499"/>
                <a:gd name="T7" fmla="*/ 0 h 762"/>
                <a:gd name="T8" fmla="*/ 460 w 499"/>
                <a:gd name="T9" fmla="*/ 169 h 762"/>
                <a:gd name="T10" fmla="*/ 490 w 499"/>
                <a:gd name="T11" fmla="*/ 524 h 762"/>
                <a:gd name="T12" fmla="*/ 478 w 499"/>
                <a:gd name="T13" fmla="*/ 756 h 762"/>
                <a:gd name="T14" fmla="*/ 330 w 499"/>
                <a:gd name="T15" fmla="*/ 762 h 7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9" h="762">
                  <a:moveTo>
                    <a:pt x="330" y="762"/>
                  </a:moveTo>
                  <a:cubicBezTo>
                    <a:pt x="345" y="520"/>
                    <a:pt x="341" y="295"/>
                    <a:pt x="322" y="250"/>
                  </a:cubicBezTo>
                  <a:cubicBezTo>
                    <a:pt x="303" y="222"/>
                    <a:pt x="151" y="160"/>
                    <a:pt x="0" y="154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269" y="10"/>
                    <a:pt x="411" y="84"/>
                    <a:pt x="460" y="169"/>
                  </a:cubicBezTo>
                  <a:cubicBezTo>
                    <a:pt x="481" y="205"/>
                    <a:pt x="499" y="277"/>
                    <a:pt x="490" y="524"/>
                  </a:cubicBezTo>
                  <a:cubicBezTo>
                    <a:pt x="484" y="654"/>
                    <a:pt x="478" y="756"/>
                    <a:pt x="478" y="756"/>
                  </a:cubicBezTo>
                  <a:lnTo>
                    <a:pt x="330" y="762"/>
                  </a:lnTo>
                  <a:close/>
                </a:path>
              </a:pathLst>
            </a:custGeom>
            <a:solidFill>
              <a:srgbClr val="1C1C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íṡľïḍ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381500" y="4035425"/>
              <a:ext cx="847725" cy="358775"/>
            </a:xfrm>
            <a:custGeom>
              <a:avLst/>
              <a:gdLst>
                <a:gd name="T0" fmla="*/ 413 w 413"/>
                <a:gd name="T1" fmla="*/ 63 h 175"/>
                <a:gd name="T2" fmla="*/ 388 w 413"/>
                <a:gd name="T3" fmla="*/ 134 h 175"/>
                <a:gd name="T4" fmla="*/ 301 w 413"/>
                <a:gd name="T5" fmla="*/ 175 h 175"/>
                <a:gd name="T6" fmla="*/ 112 w 413"/>
                <a:gd name="T7" fmla="*/ 175 h 175"/>
                <a:gd name="T8" fmla="*/ 96 w 413"/>
                <a:gd name="T9" fmla="*/ 174 h 175"/>
                <a:gd name="T10" fmla="*/ 57 w 413"/>
                <a:gd name="T11" fmla="*/ 161 h 175"/>
                <a:gd name="T12" fmla="*/ 51 w 413"/>
                <a:gd name="T13" fmla="*/ 157 h 175"/>
                <a:gd name="T14" fmla="*/ 0 w 413"/>
                <a:gd name="T15" fmla="*/ 63 h 175"/>
                <a:gd name="T16" fmla="*/ 3 w 413"/>
                <a:gd name="T17" fmla="*/ 3 h 175"/>
                <a:gd name="T18" fmla="*/ 410 w 413"/>
                <a:gd name="T19" fmla="*/ 0 h 175"/>
                <a:gd name="T20" fmla="*/ 413 w 413"/>
                <a:gd name="T21" fmla="*/ 63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13" h="175">
                  <a:moveTo>
                    <a:pt x="413" y="63"/>
                  </a:moveTo>
                  <a:cubicBezTo>
                    <a:pt x="413" y="90"/>
                    <a:pt x="404" y="115"/>
                    <a:pt x="388" y="134"/>
                  </a:cubicBezTo>
                  <a:cubicBezTo>
                    <a:pt x="367" y="159"/>
                    <a:pt x="336" y="175"/>
                    <a:pt x="301" y="175"/>
                  </a:cubicBezTo>
                  <a:cubicBezTo>
                    <a:pt x="112" y="175"/>
                    <a:pt x="112" y="175"/>
                    <a:pt x="112" y="175"/>
                  </a:cubicBezTo>
                  <a:cubicBezTo>
                    <a:pt x="107" y="175"/>
                    <a:pt x="101" y="175"/>
                    <a:pt x="96" y="174"/>
                  </a:cubicBezTo>
                  <a:cubicBezTo>
                    <a:pt x="82" y="172"/>
                    <a:pt x="69" y="167"/>
                    <a:pt x="57" y="161"/>
                  </a:cubicBezTo>
                  <a:cubicBezTo>
                    <a:pt x="55" y="160"/>
                    <a:pt x="53" y="158"/>
                    <a:pt x="51" y="157"/>
                  </a:cubicBezTo>
                  <a:cubicBezTo>
                    <a:pt x="20" y="137"/>
                    <a:pt x="0" y="102"/>
                    <a:pt x="0" y="6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10" y="0"/>
                    <a:pt x="410" y="0"/>
                    <a:pt x="410" y="0"/>
                  </a:cubicBezTo>
                  <a:lnTo>
                    <a:pt x="413" y="63"/>
                  </a:lnTo>
                  <a:close/>
                </a:path>
              </a:pathLst>
            </a:custGeom>
            <a:solidFill>
              <a:srgbClr val="1C1C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" name="íŝļíḑ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462588" y="3419475"/>
              <a:ext cx="255588" cy="90487"/>
            </a:xfrm>
            <a:custGeom>
              <a:avLst/>
              <a:gdLst>
                <a:gd name="T0" fmla="*/ 16 w 125"/>
                <a:gd name="T1" fmla="*/ 43 h 44"/>
                <a:gd name="T2" fmla="*/ 113 w 125"/>
                <a:gd name="T3" fmla="*/ 27 h 44"/>
                <a:gd name="T4" fmla="*/ 124 w 125"/>
                <a:gd name="T5" fmla="*/ 12 h 44"/>
                <a:gd name="T6" fmla="*/ 109 w 125"/>
                <a:gd name="T7" fmla="*/ 2 h 44"/>
                <a:gd name="T8" fmla="*/ 12 w 125"/>
                <a:gd name="T9" fmla="*/ 17 h 44"/>
                <a:gd name="T10" fmla="*/ 1 w 125"/>
                <a:gd name="T11" fmla="*/ 32 h 44"/>
                <a:gd name="T12" fmla="*/ 16 w 125"/>
                <a:gd name="T13" fmla="*/ 43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5" h="44">
                  <a:moveTo>
                    <a:pt x="16" y="43"/>
                  </a:moveTo>
                  <a:cubicBezTo>
                    <a:pt x="113" y="27"/>
                    <a:pt x="113" y="27"/>
                    <a:pt x="113" y="27"/>
                  </a:cubicBezTo>
                  <a:cubicBezTo>
                    <a:pt x="121" y="26"/>
                    <a:pt x="125" y="20"/>
                    <a:pt x="124" y="12"/>
                  </a:cubicBezTo>
                  <a:cubicBezTo>
                    <a:pt x="123" y="5"/>
                    <a:pt x="116" y="0"/>
                    <a:pt x="109" y="2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5" y="18"/>
                    <a:pt x="0" y="25"/>
                    <a:pt x="1" y="32"/>
                  </a:cubicBezTo>
                  <a:cubicBezTo>
                    <a:pt x="2" y="39"/>
                    <a:pt x="9" y="44"/>
                    <a:pt x="16" y="43"/>
                  </a:cubicBezTo>
                  <a:close/>
                </a:path>
              </a:pathLst>
            </a:custGeom>
            <a:solidFill>
              <a:srgbClr val="FCBB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" name="ïṣľiḋé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526088" y="3481388"/>
              <a:ext cx="217488" cy="82550"/>
            </a:xfrm>
            <a:custGeom>
              <a:avLst/>
              <a:gdLst>
                <a:gd name="T0" fmla="*/ 16 w 106"/>
                <a:gd name="T1" fmla="*/ 39 h 40"/>
                <a:gd name="T2" fmla="*/ 94 w 106"/>
                <a:gd name="T3" fmla="*/ 27 h 40"/>
                <a:gd name="T4" fmla="*/ 105 w 106"/>
                <a:gd name="T5" fmla="*/ 12 h 40"/>
                <a:gd name="T6" fmla="*/ 90 w 106"/>
                <a:gd name="T7" fmla="*/ 1 h 40"/>
                <a:gd name="T8" fmla="*/ 12 w 106"/>
                <a:gd name="T9" fmla="*/ 13 h 40"/>
                <a:gd name="T10" fmla="*/ 1 w 106"/>
                <a:gd name="T11" fmla="*/ 28 h 40"/>
                <a:gd name="T12" fmla="*/ 16 w 106"/>
                <a:gd name="T1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40">
                  <a:moveTo>
                    <a:pt x="16" y="39"/>
                  </a:moveTo>
                  <a:cubicBezTo>
                    <a:pt x="94" y="27"/>
                    <a:pt x="94" y="27"/>
                    <a:pt x="94" y="27"/>
                  </a:cubicBezTo>
                  <a:cubicBezTo>
                    <a:pt x="101" y="26"/>
                    <a:pt x="106" y="19"/>
                    <a:pt x="105" y="12"/>
                  </a:cubicBezTo>
                  <a:cubicBezTo>
                    <a:pt x="104" y="5"/>
                    <a:pt x="97" y="0"/>
                    <a:pt x="90" y="1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5" y="15"/>
                    <a:pt x="0" y="21"/>
                    <a:pt x="1" y="28"/>
                  </a:cubicBezTo>
                  <a:cubicBezTo>
                    <a:pt x="2" y="36"/>
                    <a:pt x="9" y="40"/>
                    <a:pt x="16" y="39"/>
                  </a:cubicBezTo>
                  <a:close/>
                </a:path>
              </a:pathLst>
            </a:custGeom>
            <a:solidFill>
              <a:srgbClr val="FCBB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" name="îşľïḓè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489575" y="3546475"/>
              <a:ext cx="247650" cy="88900"/>
            </a:xfrm>
            <a:custGeom>
              <a:avLst/>
              <a:gdLst>
                <a:gd name="T0" fmla="*/ 16 w 121"/>
                <a:gd name="T1" fmla="*/ 41 h 43"/>
                <a:gd name="T2" fmla="*/ 109 w 121"/>
                <a:gd name="T3" fmla="*/ 27 h 43"/>
                <a:gd name="T4" fmla="*/ 119 w 121"/>
                <a:gd name="T5" fmla="*/ 12 h 43"/>
                <a:gd name="T6" fmla="*/ 104 w 121"/>
                <a:gd name="T7" fmla="*/ 1 h 43"/>
                <a:gd name="T8" fmla="*/ 12 w 121"/>
                <a:gd name="T9" fmla="*/ 16 h 43"/>
                <a:gd name="T10" fmla="*/ 1 w 121"/>
                <a:gd name="T11" fmla="*/ 31 h 43"/>
                <a:gd name="T12" fmla="*/ 16 w 121"/>
                <a:gd name="T13" fmla="*/ 4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43">
                  <a:moveTo>
                    <a:pt x="16" y="41"/>
                  </a:moveTo>
                  <a:cubicBezTo>
                    <a:pt x="109" y="27"/>
                    <a:pt x="109" y="27"/>
                    <a:pt x="109" y="27"/>
                  </a:cubicBezTo>
                  <a:cubicBezTo>
                    <a:pt x="116" y="26"/>
                    <a:pt x="121" y="19"/>
                    <a:pt x="119" y="12"/>
                  </a:cubicBezTo>
                  <a:cubicBezTo>
                    <a:pt x="118" y="5"/>
                    <a:pt x="112" y="0"/>
                    <a:pt x="104" y="1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5" y="17"/>
                    <a:pt x="0" y="23"/>
                    <a:pt x="1" y="31"/>
                  </a:cubicBezTo>
                  <a:cubicBezTo>
                    <a:pt x="2" y="38"/>
                    <a:pt x="9" y="43"/>
                    <a:pt x="16" y="41"/>
                  </a:cubicBezTo>
                  <a:close/>
                </a:path>
              </a:pathLst>
            </a:custGeom>
            <a:solidFill>
              <a:srgbClr val="FCBB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" name="íSľíḋé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316538" y="3454400"/>
              <a:ext cx="265113" cy="231775"/>
            </a:xfrm>
            <a:custGeom>
              <a:avLst/>
              <a:gdLst>
                <a:gd name="T0" fmla="*/ 129 w 129"/>
                <a:gd name="T1" fmla="*/ 1 h 113"/>
                <a:gd name="T2" fmla="*/ 103 w 129"/>
                <a:gd name="T3" fmla="*/ 1 h 113"/>
                <a:gd name="T4" fmla="*/ 39 w 129"/>
                <a:gd name="T5" fmla="*/ 15 h 113"/>
                <a:gd name="T6" fmla="*/ 0 w 129"/>
                <a:gd name="T7" fmla="*/ 34 h 113"/>
                <a:gd name="T8" fmla="*/ 25 w 129"/>
                <a:gd name="T9" fmla="*/ 100 h 113"/>
                <a:gd name="T10" fmla="*/ 125 w 129"/>
                <a:gd name="T11" fmla="*/ 79 h 113"/>
                <a:gd name="T12" fmla="*/ 129 w 129"/>
                <a:gd name="T13" fmla="*/ 1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9" h="113">
                  <a:moveTo>
                    <a:pt x="129" y="1"/>
                  </a:moveTo>
                  <a:cubicBezTo>
                    <a:pt x="128" y="1"/>
                    <a:pt x="116" y="1"/>
                    <a:pt x="103" y="1"/>
                  </a:cubicBezTo>
                  <a:cubicBezTo>
                    <a:pt x="81" y="0"/>
                    <a:pt x="59" y="5"/>
                    <a:pt x="39" y="1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4"/>
                    <a:pt x="22" y="99"/>
                    <a:pt x="25" y="100"/>
                  </a:cubicBezTo>
                  <a:cubicBezTo>
                    <a:pt x="99" y="113"/>
                    <a:pt x="125" y="79"/>
                    <a:pt x="125" y="79"/>
                  </a:cubicBezTo>
                  <a:lnTo>
                    <a:pt x="129" y="1"/>
                  </a:lnTo>
                  <a:close/>
                </a:path>
              </a:pathLst>
            </a:custGeom>
            <a:solidFill>
              <a:srgbClr val="FCBB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" name="ïŝlïďè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395913" y="3457575"/>
              <a:ext cx="68263" cy="21748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" name="ïṡ1îḑè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373563" y="2735263"/>
              <a:ext cx="1027113" cy="963612"/>
            </a:xfrm>
            <a:custGeom>
              <a:avLst/>
              <a:gdLst>
                <a:gd name="T0" fmla="*/ 284 w 501"/>
                <a:gd name="T1" fmla="*/ 470 h 470"/>
                <a:gd name="T2" fmla="*/ 103 w 501"/>
                <a:gd name="T3" fmla="*/ 354 h 470"/>
                <a:gd name="T4" fmla="*/ 101 w 501"/>
                <a:gd name="T5" fmla="*/ 351 h 470"/>
                <a:gd name="T6" fmla="*/ 0 w 501"/>
                <a:gd name="T7" fmla="*/ 41 h 470"/>
                <a:gd name="T8" fmla="*/ 125 w 501"/>
                <a:gd name="T9" fmla="*/ 0 h 470"/>
                <a:gd name="T10" fmla="*/ 224 w 501"/>
                <a:gd name="T11" fmla="*/ 302 h 470"/>
                <a:gd name="T12" fmla="*/ 284 w 501"/>
                <a:gd name="T13" fmla="*/ 339 h 470"/>
                <a:gd name="T14" fmla="*/ 500 w 501"/>
                <a:gd name="T15" fmla="*/ 336 h 470"/>
                <a:gd name="T16" fmla="*/ 501 w 501"/>
                <a:gd name="T17" fmla="*/ 468 h 470"/>
                <a:gd name="T18" fmla="*/ 286 w 501"/>
                <a:gd name="T19" fmla="*/ 470 h 470"/>
                <a:gd name="T20" fmla="*/ 284 w 501"/>
                <a:gd name="T21" fmla="*/ 470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1" h="470">
                  <a:moveTo>
                    <a:pt x="284" y="470"/>
                  </a:moveTo>
                  <a:cubicBezTo>
                    <a:pt x="206" y="470"/>
                    <a:pt x="135" y="425"/>
                    <a:pt x="103" y="354"/>
                  </a:cubicBezTo>
                  <a:cubicBezTo>
                    <a:pt x="101" y="351"/>
                    <a:pt x="101" y="351"/>
                    <a:pt x="101" y="35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224" y="302"/>
                    <a:pt x="224" y="302"/>
                    <a:pt x="224" y="302"/>
                  </a:cubicBezTo>
                  <a:cubicBezTo>
                    <a:pt x="235" y="325"/>
                    <a:pt x="259" y="339"/>
                    <a:pt x="284" y="339"/>
                  </a:cubicBezTo>
                  <a:cubicBezTo>
                    <a:pt x="500" y="336"/>
                    <a:pt x="500" y="336"/>
                    <a:pt x="500" y="336"/>
                  </a:cubicBezTo>
                  <a:cubicBezTo>
                    <a:pt x="501" y="468"/>
                    <a:pt x="501" y="468"/>
                    <a:pt x="501" y="468"/>
                  </a:cubicBezTo>
                  <a:cubicBezTo>
                    <a:pt x="286" y="470"/>
                    <a:pt x="286" y="470"/>
                    <a:pt x="286" y="470"/>
                  </a:cubicBezTo>
                  <a:cubicBezTo>
                    <a:pt x="285" y="470"/>
                    <a:pt x="284" y="470"/>
                    <a:pt x="284" y="470"/>
                  </a:cubicBezTo>
                  <a:close/>
                </a:path>
              </a:pathLst>
            </a:custGeom>
            <a:solidFill>
              <a:srgbClr val="1C1C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" name="iSlîḓ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081713" y="3338513"/>
              <a:ext cx="346075" cy="192087"/>
            </a:xfrm>
            <a:custGeom>
              <a:avLst/>
              <a:gdLst>
                <a:gd name="T0" fmla="*/ 153 w 169"/>
                <a:gd name="T1" fmla="*/ 48 h 94"/>
                <a:gd name="T2" fmla="*/ 119 w 169"/>
                <a:gd name="T3" fmla="*/ 15 h 94"/>
                <a:gd name="T4" fmla="*/ 118 w 169"/>
                <a:gd name="T5" fmla="*/ 15 h 94"/>
                <a:gd name="T6" fmla="*/ 54 w 169"/>
                <a:gd name="T7" fmla="*/ 0 h 94"/>
                <a:gd name="T8" fmla="*/ 11 w 169"/>
                <a:gd name="T9" fmla="*/ 1 h 94"/>
                <a:gd name="T10" fmla="*/ 1 w 169"/>
                <a:gd name="T11" fmla="*/ 91 h 94"/>
                <a:gd name="T12" fmla="*/ 153 w 169"/>
                <a:gd name="T13" fmla="*/ 88 h 94"/>
                <a:gd name="T14" fmla="*/ 164 w 169"/>
                <a:gd name="T15" fmla="*/ 68 h 94"/>
                <a:gd name="T16" fmla="*/ 153 w 169"/>
                <a:gd name="T17" fmla="*/ 48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94">
                  <a:moveTo>
                    <a:pt x="153" y="48"/>
                  </a:moveTo>
                  <a:cubicBezTo>
                    <a:pt x="145" y="34"/>
                    <a:pt x="133" y="22"/>
                    <a:pt x="119" y="15"/>
                  </a:cubicBezTo>
                  <a:cubicBezTo>
                    <a:pt x="118" y="15"/>
                    <a:pt x="118" y="15"/>
                    <a:pt x="118" y="15"/>
                  </a:cubicBezTo>
                  <a:cubicBezTo>
                    <a:pt x="98" y="5"/>
                    <a:pt x="76" y="0"/>
                    <a:pt x="54" y="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0" y="94"/>
                    <a:pt x="1" y="91"/>
                  </a:cubicBezTo>
                  <a:cubicBezTo>
                    <a:pt x="2" y="85"/>
                    <a:pt x="105" y="87"/>
                    <a:pt x="153" y="88"/>
                  </a:cubicBezTo>
                  <a:cubicBezTo>
                    <a:pt x="163" y="88"/>
                    <a:pt x="169" y="77"/>
                    <a:pt x="164" y="68"/>
                  </a:cubicBezTo>
                  <a:lnTo>
                    <a:pt x="153" y="48"/>
                  </a:lnTo>
                  <a:close/>
                </a:path>
              </a:pathLst>
            </a:custGeom>
            <a:solidFill>
              <a:srgbClr val="FCBB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0" name="i$ḻiďe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049963" y="3325813"/>
              <a:ext cx="84138" cy="22542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1" name="ïṥļiḍè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970463" y="2579688"/>
              <a:ext cx="1117600" cy="996950"/>
            </a:xfrm>
            <a:custGeom>
              <a:avLst/>
              <a:gdLst>
                <a:gd name="T0" fmla="*/ 327 w 545"/>
                <a:gd name="T1" fmla="*/ 486 h 486"/>
                <a:gd name="T2" fmla="*/ 146 w 545"/>
                <a:gd name="T3" fmla="*/ 371 h 486"/>
                <a:gd name="T4" fmla="*/ 0 w 545"/>
                <a:gd name="T5" fmla="*/ 55 h 486"/>
                <a:gd name="T6" fmla="*/ 120 w 545"/>
                <a:gd name="T7" fmla="*/ 0 h 486"/>
                <a:gd name="T8" fmla="*/ 266 w 545"/>
                <a:gd name="T9" fmla="*/ 315 h 486"/>
                <a:gd name="T10" fmla="*/ 328 w 545"/>
                <a:gd name="T11" fmla="*/ 355 h 486"/>
                <a:gd name="T12" fmla="*/ 543 w 545"/>
                <a:gd name="T13" fmla="*/ 353 h 486"/>
                <a:gd name="T14" fmla="*/ 545 w 545"/>
                <a:gd name="T15" fmla="*/ 484 h 486"/>
                <a:gd name="T16" fmla="*/ 329 w 545"/>
                <a:gd name="T17" fmla="*/ 486 h 486"/>
                <a:gd name="T18" fmla="*/ 327 w 545"/>
                <a:gd name="T19" fmla="*/ 486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5" h="486">
                  <a:moveTo>
                    <a:pt x="327" y="486"/>
                  </a:moveTo>
                  <a:cubicBezTo>
                    <a:pt x="250" y="486"/>
                    <a:pt x="179" y="441"/>
                    <a:pt x="146" y="371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266" y="315"/>
                    <a:pt x="266" y="315"/>
                    <a:pt x="266" y="315"/>
                  </a:cubicBezTo>
                  <a:cubicBezTo>
                    <a:pt x="277" y="340"/>
                    <a:pt x="301" y="355"/>
                    <a:pt x="328" y="355"/>
                  </a:cubicBezTo>
                  <a:cubicBezTo>
                    <a:pt x="543" y="353"/>
                    <a:pt x="543" y="353"/>
                    <a:pt x="543" y="353"/>
                  </a:cubicBezTo>
                  <a:cubicBezTo>
                    <a:pt x="545" y="484"/>
                    <a:pt x="545" y="484"/>
                    <a:pt x="545" y="484"/>
                  </a:cubicBezTo>
                  <a:cubicBezTo>
                    <a:pt x="329" y="486"/>
                    <a:pt x="329" y="486"/>
                    <a:pt x="329" y="486"/>
                  </a:cubicBezTo>
                  <a:cubicBezTo>
                    <a:pt x="329" y="486"/>
                    <a:pt x="328" y="486"/>
                    <a:pt x="327" y="486"/>
                  </a:cubicBezTo>
                  <a:close/>
                </a:path>
              </a:pathLst>
            </a:custGeom>
            <a:solidFill>
              <a:srgbClr val="2525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2" name="íSļïḍ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352925" y="2414588"/>
              <a:ext cx="947738" cy="1838325"/>
            </a:xfrm>
            <a:custGeom>
              <a:avLst/>
              <a:gdLst>
                <a:gd name="T0" fmla="*/ 462 w 462"/>
                <a:gd name="T1" fmla="*/ 196 h 896"/>
                <a:gd name="T2" fmla="*/ 460 w 462"/>
                <a:gd name="T3" fmla="*/ 472 h 896"/>
                <a:gd name="T4" fmla="*/ 457 w 462"/>
                <a:gd name="T5" fmla="*/ 824 h 896"/>
                <a:gd name="T6" fmla="*/ 427 w 462"/>
                <a:gd name="T7" fmla="*/ 844 h 896"/>
                <a:gd name="T8" fmla="*/ 329 w 462"/>
                <a:gd name="T9" fmla="*/ 879 h 896"/>
                <a:gd name="T10" fmla="*/ 132 w 462"/>
                <a:gd name="T11" fmla="*/ 894 h 896"/>
                <a:gd name="T12" fmla="*/ 0 w 462"/>
                <a:gd name="T13" fmla="*/ 886 h 896"/>
                <a:gd name="T14" fmla="*/ 2 w 462"/>
                <a:gd name="T15" fmla="*/ 196 h 896"/>
                <a:gd name="T16" fmla="*/ 165 w 462"/>
                <a:gd name="T17" fmla="*/ 3 h 896"/>
                <a:gd name="T18" fmla="*/ 199 w 462"/>
                <a:gd name="T19" fmla="*/ 0 h 896"/>
                <a:gd name="T20" fmla="*/ 265 w 462"/>
                <a:gd name="T21" fmla="*/ 0 h 896"/>
                <a:gd name="T22" fmla="*/ 462 w 462"/>
                <a:gd name="T23" fmla="*/ 196 h 8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2" h="896">
                  <a:moveTo>
                    <a:pt x="462" y="196"/>
                  </a:moveTo>
                  <a:cubicBezTo>
                    <a:pt x="460" y="472"/>
                    <a:pt x="460" y="472"/>
                    <a:pt x="460" y="472"/>
                  </a:cubicBezTo>
                  <a:cubicBezTo>
                    <a:pt x="457" y="824"/>
                    <a:pt x="457" y="824"/>
                    <a:pt x="457" y="824"/>
                  </a:cubicBezTo>
                  <a:cubicBezTo>
                    <a:pt x="457" y="824"/>
                    <a:pt x="449" y="832"/>
                    <a:pt x="427" y="844"/>
                  </a:cubicBezTo>
                  <a:cubicBezTo>
                    <a:pt x="407" y="854"/>
                    <a:pt x="376" y="867"/>
                    <a:pt x="329" y="879"/>
                  </a:cubicBezTo>
                  <a:cubicBezTo>
                    <a:pt x="275" y="893"/>
                    <a:pt x="198" y="896"/>
                    <a:pt x="132" y="894"/>
                  </a:cubicBezTo>
                  <a:cubicBezTo>
                    <a:pt x="59" y="892"/>
                    <a:pt x="0" y="886"/>
                    <a:pt x="0" y="886"/>
                  </a:cubicBezTo>
                  <a:cubicBezTo>
                    <a:pt x="2" y="196"/>
                    <a:pt x="2" y="196"/>
                    <a:pt x="2" y="196"/>
                  </a:cubicBezTo>
                  <a:cubicBezTo>
                    <a:pt x="2" y="99"/>
                    <a:pt x="72" y="19"/>
                    <a:pt x="165" y="3"/>
                  </a:cubicBezTo>
                  <a:cubicBezTo>
                    <a:pt x="176" y="1"/>
                    <a:pt x="187" y="0"/>
                    <a:pt x="199" y="0"/>
                  </a:cubicBezTo>
                  <a:cubicBezTo>
                    <a:pt x="265" y="0"/>
                    <a:pt x="265" y="0"/>
                    <a:pt x="265" y="0"/>
                  </a:cubicBezTo>
                  <a:cubicBezTo>
                    <a:pt x="374" y="0"/>
                    <a:pt x="462" y="88"/>
                    <a:pt x="462" y="196"/>
                  </a:cubicBezTo>
                  <a:close/>
                </a:path>
              </a:pathLst>
            </a:custGeom>
            <a:solidFill>
              <a:srgbClr val="2525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3" name="îšḷïḍ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670425" y="4675188"/>
              <a:ext cx="138113" cy="781050"/>
            </a:xfrm>
            <a:prstGeom prst="rect">
              <a:avLst/>
            </a:prstGeom>
            <a:solidFill>
              <a:srgbClr val="B1AE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" name="îSľiḓé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670425" y="4718050"/>
              <a:ext cx="138113" cy="173037"/>
            </a:xfrm>
            <a:custGeom>
              <a:avLst/>
              <a:gdLst>
                <a:gd name="T0" fmla="*/ 0 w 67"/>
                <a:gd name="T1" fmla="*/ 0 h 84"/>
                <a:gd name="T2" fmla="*/ 0 w 67"/>
                <a:gd name="T3" fmla="*/ 84 h 84"/>
                <a:gd name="T4" fmla="*/ 67 w 67"/>
                <a:gd name="T5" fmla="*/ 59 h 84"/>
                <a:gd name="T6" fmla="*/ 67 w 67"/>
                <a:gd name="T7" fmla="*/ 3 h 84"/>
                <a:gd name="T8" fmla="*/ 0 w 67"/>
                <a:gd name="T9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" h="84">
                  <a:moveTo>
                    <a:pt x="0" y="0"/>
                  </a:moveTo>
                  <a:cubicBezTo>
                    <a:pt x="0" y="84"/>
                    <a:pt x="0" y="84"/>
                    <a:pt x="0" y="84"/>
                  </a:cubicBezTo>
                  <a:cubicBezTo>
                    <a:pt x="67" y="59"/>
                    <a:pt x="67" y="59"/>
                    <a:pt x="67" y="59"/>
                  </a:cubicBezTo>
                  <a:cubicBezTo>
                    <a:pt x="67" y="3"/>
                    <a:pt x="67" y="3"/>
                    <a:pt x="67" y="3"/>
                  </a:cubicBezTo>
                  <a:cubicBezTo>
                    <a:pt x="50" y="2"/>
                    <a:pt x="18" y="1"/>
                    <a:pt x="0" y="0"/>
                  </a:cubicBezTo>
                  <a:close/>
                </a:path>
              </a:pathLst>
            </a:custGeom>
            <a:solidFill>
              <a:srgbClr val="716F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" name="íŝľîḋ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267200" y="4589463"/>
              <a:ext cx="966788" cy="153987"/>
            </a:xfrm>
            <a:custGeom>
              <a:avLst/>
              <a:gdLst>
                <a:gd name="T0" fmla="*/ 435 w 472"/>
                <a:gd name="T1" fmla="*/ 75 h 75"/>
                <a:gd name="T2" fmla="*/ 37 w 472"/>
                <a:gd name="T3" fmla="*/ 75 h 75"/>
                <a:gd name="T4" fmla="*/ 0 w 472"/>
                <a:gd name="T5" fmla="*/ 37 h 75"/>
                <a:gd name="T6" fmla="*/ 37 w 472"/>
                <a:gd name="T7" fmla="*/ 0 h 75"/>
                <a:gd name="T8" fmla="*/ 435 w 472"/>
                <a:gd name="T9" fmla="*/ 0 h 75"/>
                <a:gd name="T10" fmla="*/ 472 w 472"/>
                <a:gd name="T11" fmla="*/ 37 h 75"/>
                <a:gd name="T12" fmla="*/ 435 w 472"/>
                <a:gd name="T13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2" h="75">
                  <a:moveTo>
                    <a:pt x="435" y="75"/>
                  </a:moveTo>
                  <a:cubicBezTo>
                    <a:pt x="37" y="75"/>
                    <a:pt x="37" y="75"/>
                    <a:pt x="37" y="75"/>
                  </a:cubicBezTo>
                  <a:cubicBezTo>
                    <a:pt x="17" y="75"/>
                    <a:pt x="0" y="58"/>
                    <a:pt x="0" y="37"/>
                  </a:cubicBezTo>
                  <a:cubicBezTo>
                    <a:pt x="0" y="17"/>
                    <a:pt x="17" y="0"/>
                    <a:pt x="37" y="0"/>
                  </a:cubicBezTo>
                  <a:cubicBezTo>
                    <a:pt x="435" y="0"/>
                    <a:pt x="435" y="0"/>
                    <a:pt x="435" y="0"/>
                  </a:cubicBezTo>
                  <a:cubicBezTo>
                    <a:pt x="455" y="0"/>
                    <a:pt x="472" y="17"/>
                    <a:pt x="472" y="37"/>
                  </a:cubicBezTo>
                  <a:cubicBezTo>
                    <a:pt x="472" y="58"/>
                    <a:pt x="455" y="75"/>
                    <a:pt x="435" y="75"/>
                  </a:cubicBezTo>
                  <a:close/>
                </a:path>
              </a:pathLst>
            </a:custGeom>
            <a:solidFill>
              <a:srgbClr val="2D2D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6" name="ïṧḻiḋè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156075" y="5454650"/>
              <a:ext cx="1160463" cy="254000"/>
            </a:xfrm>
            <a:custGeom>
              <a:avLst/>
              <a:gdLst>
                <a:gd name="T0" fmla="*/ 566 w 566"/>
                <a:gd name="T1" fmla="*/ 124 h 124"/>
                <a:gd name="T2" fmla="*/ 524 w 566"/>
                <a:gd name="T3" fmla="*/ 124 h 124"/>
                <a:gd name="T4" fmla="*/ 434 w 566"/>
                <a:gd name="T5" fmla="*/ 39 h 124"/>
                <a:gd name="T6" fmla="*/ 132 w 566"/>
                <a:gd name="T7" fmla="*/ 39 h 124"/>
                <a:gd name="T8" fmla="*/ 41 w 566"/>
                <a:gd name="T9" fmla="*/ 124 h 124"/>
                <a:gd name="T10" fmla="*/ 0 w 566"/>
                <a:gd name="T11" fmla="*/ 124 h 124"/>
                <a:gd name="T12" fmla="*/ 132 w 566"/>
                <a:gd name="T13" fmla="*/ 0 h 124"/>
                <a:gd name="T14" fmla="*/ 434 w 566"/>
                <a:gd name="T15" fmla="*/ 0 h 124"/>
                <a:gd name="T16" fmla="*/ 566 w 566"/>
                <a:gd name="T17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6" h="124">
                  <a:moveTo>
                    <a:pt x="566" y="124"/>
                  </a:moveTo>
                  <a:cubicBezTo>
                    <a:pt x="524" y="124"/>
                    <a:pt x="524" y="124"/>
                    <a:pt x="524" y="124"/>
                  </a:cubicBezTo>
                  <a:cubicBezTo>
                    <a:pt x="524" y="77"/>
                    <a:pt x="484" y="39"/>
                    <a:pt x="434" y="39"/>
                  </a:cubicBezTo>
                  <a:cubicBezTo>
                    <a:pt x="132" y="39"/>
                    <a:pt x="132" y="39"/>
                    <a:pt x="132" y="39"/>
                  </a:cubicBezTo>
                  <a:cubicBezTo>
                    <a:pt x="82" y="39"/>
                    <a:pt x="41" y="77"/>
                    <a:pt x="41" y="124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0" y="56"/>
                    <a:pt x="59" y="0"/>
                    <a:pt x="132" y="0"/>
                  </a:cubicBezTo>
                  <a:cubicBezTo>
                    <a:pt x="434" y="0"/>
                    <a:pt x="434" y="0"/>
                    <a:pt x="434" y="0"/>
                  </a:cubicBezTo>
                  <a:cubicBezTo>
                    <a:pt x="507" y="0"/>
                    <a:pt x="566" y="56"/>
                    <a:pt x="566" y="124"/>
                  </a:cubicBezTo>
                  <a:close/>
                </a:path>
              </a:pathLst>
            </a:custGeom>
            <a:solidFill>
              <a:srgbClr val="2D2D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7" name="ïŝḻîḋé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638675" y="5334000"/>
              <a:ext cx="198438" cy="122237"/>
            </a:xfrm>
            <a:prstGeom prst="rect">
              <a:avLst/>
            </a:prstGeom>
            <a:solidFill>
              <a:srgbClr val="2D2D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8" name="ïsļíd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125913" y="5721350"/>
              <a:ext cx="141288" cy="133350"/>
            </a:xfrm>
            <a:prstGeom prst="ellipse">
              <a:avLst/>
            </a:prstGeom>
            <a:solidFill>
              <a:srgbClr val="0813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9" name="iSḷïḑ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103688" y="5673725"/>
              <a:ext cx="193675" cy="106362"/>
            </a:xfrm>
            <a:custGeom>
              <a:avLst/>
              <a:gdLst>
                <a:gd name="T0" fmla="*/ 95 w 95"/>
                <a:gd name="T1" fmla="*/ 52 h 52"/>
                <a:gd name="T2" fmla="*/ 0 w 95"/>
                <a:gd name="T3" fmla="*/ 52 h 52"/>
                <a:gd name="T4" fmla="*/ 0 w 95"/>
                <a:gd name="T5" fmla="*/ 44 h 52"/>
                <a:gd name="T6" fmla="*/ 44 w 95"/>
                <a:gd name="T7" fmla="*/ 0 h 52"/>
                <a:gd name="T8" fmla="*/ 51 w 95"/>
                <a:gd name="T9" fmla="*/ 0 h 52"/>
                <a:gd name="T10" fmla="*/ 95 w 95"/>
                <a:gd name="T11" fmla="*/ 44 h 52"/>
                <a:gd name="T12" fmla="*/ 95 w 95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5" h="52">
                  <a:moveTo>
                    <a:pt x="95" y="52"/>
                  </a:moveTo>
                  <a:cubicBezTo>
                    <a:pt x="0" y="52"/>
                    <a:pt x="0" y="52"/>
                    <a:pt x="0" y="52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19"/>
                    <a:pt x="20" y="0"/>
                    <a:pt x="44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75" y="0"/>
                    <a:pt x="95" y="19"/>
                    <a:pt x="95" y="44"/>
                  </a:cubicBezTo>
                  <a:lnTo>
                    <a:pt x="95" y="52"/>
                  </a:lnTo>
                  <a:close/>
                </a:path>
              </a:pathLst>
            </a:custGeom>
            <a:solidFill>
              <a:srgbClr val="07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0" name="îŝḷïḓé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208588" y="5721350"/>
              <a:ext cx="141288" cy="133350"/>
            </a:xfrm>
            <a:prstGeom prst="ellipse">
              <a:avLst/>
            </a:prstGeom>
            <a:solidFill>
              <a:srgbClr val="0813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1" name="ïṧḷîdé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187950" y="5673725"/>
              <a:ext cx="192088" cy="106362"/>
            </a:xfrm>
            <a:custGeom>
              <a:avLst/>
              <a:gdLst>
                <a:gd name="T0" fmla="*/ 94 w 94"/>
                <a:gd name="T1" fmla="*/ 52 h 52"/>
                <a:gd name="T2" fmla="*/ 0 w 94"/>
                <a:gd name="T3" fmla="*/ 52 h 52"/>
                <a:gd name="T4" fmla="*/ 0 w 94"/>
                <a:gd name="T5" fmla="*/ 44 h 52"/>
                <a:gd name="T6" fmla="*/ 44 w 94"/>
                <a:gd name="T7" fmla="*/ 0 h 52"/>
                <a:gd name="T8" fmla="*/ 50 w 94"/>
                <a:gd name="T9" fmla="*/ 0 h 52"/>
                <a:gd name="T10" fmla="*/ 94 w 94"/>
                <a:gd name="T11" fmla="*/ 44 h 52"/>
                <a:gd name="T12" fmla="*/ 94 w 94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4" h="52">
                  <a:moveTo>
                    <a:pt x="94" y="52"/>
                  </a:moveTo>
                  <a:cubicBezTo>
                    <a:pt x="0" y="52"/>
                    <a:pt x="0" y="52"/>
                    <a:pt x="0" y="52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19"/>
                    <a:pt x="19" y="0"/>
                    <a:pt x="44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74" y="0"/>
                    <a:pt x="94" y="19"/>
                    <a:pt x="94" y="44"/>
                  </a:cubicBezTo>
                  <a:lnTo>
                    <a:pt x="94" y="52"/>
                  </a:lnTo>
                  <a:close/>
                </a:path>
              </a:pathLst>
            </a:custGeom>
            <a:solidFill>
              <a:srgbClr val="07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2" name="ïṩļídé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684713" y="5480050"/>
              <a:ext cx="112713" cy="241300"/>
            </a:xfrm>
            <a:prstGeom prst="rect">
              <a:avLst/>
            </a:prstGeom>
            <a:solidFill>
              <a:srgbClr val="2D2D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" name="ïšḻïḋé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675188" y="5721350"/>
              <a:ext cx="141288" cy="133350"/>
            </a:xfrm>
            <a:prstGeom prst="ellipse">
              <a:avLst/>
            </a:prstGeom>
            <a:solidFill>
              <a:srgbClr val="0813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" name="işļîḑe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652963" y="5673725"/>
              <a:ext cx="193675" cy="106362"/>
            </a:xfrm>
            <a:custGeom>
              <a:avLst/>
              <a:gdLst>
                <a:gd name="T0" fmla="*/ 95 w 95"/>
                <a:gd name="T1" fmla="*/ 52 h 52"/>
                <a:gd name="T2" fmla="*/ 0 w 95"/>
                <a:gd name="T3" fmla="*/ 52 h 52"/>
                <a:gd name="T4" fmla="*/ 0 w 95"/>
                <a:gd name="T5" fmla="*/ 44 h 52"/>
                <a:gd name="T6" fmla="*/ 44 w 95"/>
                <a:gd name="T7" fmla="*/ 0 h 52"/>
                <a:gd name="T8" fmla="*/ 51 w 95"/>
                <a:gd name="T9" fmla="*/ 0 h 52"/>
                <a:gd name="T10" fmla="*/ 95 w 95"/>
                <a:gd name="T11" fmla="*/ 44 h 52"/>
                <a:gd name="T12" fmla="*/ 95 w 95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5" h="52">
                  <a:moveTo>
                    <a:pt x="95" y="52"/>
                  </a:moveTo>
                  <a:cubicBezTo>
                    <a:pt x="0" y="52"/>
                    <a:pt x="0" y="52"/>
                    <a:pt x="0" y="52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19"/>
                    <a:pt x="20" y="0"/>
                    <a:pt x="44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75" y="0"/>
                    <a:pt x="95" y="19"/>
                    <a:pt x="95" y="44"/>
                  </a:cubicBezTo>
                  <a:lnTo>
                    <a:pt x="95" y="52"/>
                  </a:lnTo>
                  <a:close/>
                </a:path>
              </a:pathLst>
            </a:custGeom>
            <a:solidFill>
              <a:srgbClr val="07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" name="išliḑè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3641725" y="3014663"/>
              <a:ext cx="1020763" cy="1655762"/>
            </a:xfrm>
            <a:custGeom>
              <a:avLst/>
              <a:gdLst>
                <a:gd name="T0" fmla="*/ 6 w 498"/>
                <a:gd name="T1" fmla="*/ 92 h 808"/>
                <a:gd name="T2" fmla="*/ 95 w 498"/>
                <a:gd name="T3" fmla="*/ 734 h 808"/>
                <a:gd name="T4" fmla="*/ 173 w 498"/>
                <a:gd name="T5" fmla="*/ 804 h 808"/>
                <a:gd name="T6" fmla="*/ 498 w 498"/>
                <a:gd name="T7" fmla="*/ 808 h 808"/>
                <a:gd name="T8" fmla="*/ 317 w 498"/>
                <a:gd name="T9" fmla="*/ 0 h 808"/>
                <a:gd name="T10" fmla="*/ 87 w 498"/>
                <a:gd name="T11" fmla="*/ 0 h 808"/>
                <a:gd name="T12" fmla="*/ 6 w 498"/>
                <a:gd name="T13" fmla="*/ 92 h 8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8" h="808">
                  <a:moveTo>
                    <a:pt x="6" y="92"/>
                  </a:moveTo>
                  <a:cubicBezTo>
                    <a:pt x="95" y="734"/>
                    <a:pt x="95" y="734"/>
                    <a:pt x="95" y="734"/>
                  </a:cubicBezTo>
                  <a:cubicBezTo>
                    <a:pt x="101" y="773"/>
                    <a:pt x="133" y="803"/>
                    <a:pt x="173" y="804"/>
                  </a:cubicBezTo>
                  <a:cubicBezTo>
                    <a:pt x="498" y="808"/>
                    <a:pt x="498" y="808"/>
                    <a:pt x="498" y="808"/>
                  </a:cubicBezTo>
                  <a:cubicBezTo>
                    <a:pt x="317" y="0"/>
                    <a:pt x="317" y="0"/>
                    <a:pt x="317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37" y="0"/>
                    <a:pt x="0" y="43"/>
                    <a:pt x="6" y="92"/>
                  </a:cubicBezTo>
                  <a:close/>
                </a:path>
              </a:pathLst>
            </a:custGeom>
            <a:solidFill>
              <a:srgbClr val="9F29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" name="îšḻíďè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379913" y="4384675"/>
              <a:ext cx="1211263" cy="285750"/>
            </a:xfrm>
            <a:custGeom>
              <a:avLst/>
              <a:gdLst>
                <a:gd name="T0" fmla="*/ 521 w 591"/>
                <a:gd name="T1" fmla="*/ 140 h 140"/>
                <a:gd name="T2" fmla="*/ 70 w 591"/>
                <a:gd name="T3" fmla="*/ 140 h 140"/>
                <a:gd name="T4" fmla="*/ 0 w 591"/>
                <a:gd name="T5" fmla="*/ 70 h 140"/>
                <a:gd name="T6" fmla="*/ 70 w 591"/>
                <a:gd name="T7" fmla="*/ 0 h 140"/>
                <a:gd name="T8" fmla="*/ 521 w 591"/>
                <a:gd name="T9" fmla="*/ 0 h 140"/>
                <a:gd name="T10" fmla="*/ 591 w 591"/>
                <a:gd name="T11" fmla="*/ 70 h 140"/>
                <a:gd name="T12" fmla="*/ 521 w 591"/>
                <a:gd name="T13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1" h="140">
                  <a:moveTo>
                    <a:pt x="521" y="140"/>
                  </a:moveTo>
                  <a:cubicBezTo>
                    <a:pt x="70" y="140"/>
                    <a:pt x="70" y="140"/>
                    <a:pt x="70" y="140"/>
                  </a:cubicBezTo>
                  <a:cubicBezTo>
                    <a:pt x="31" y="140"/>
                    <a:pt x="0" y="108"/>
                    <a:pt x="0" y="70"/>
                  </a:cubicBezTo>
                  <a:cubicBezTo>
                    <a:pt x="0" y="31"/>
                    <a:pt x="31" y="0"/>
                    <a:pt x="70" y="0"/>
                  </a:cubicBezTo>
                  <a:cubicBezTo>
                    <a:pt x="521" y="0"/>
                    <a:pt x="521" y="0"/>
                    <a:pt x="521" y="0"/>
                  </a:cubicBezTo>
                  <a:cubicBezTo>
                    <a:pt x="560" y="0"/>
                    <a:pt x="591" y="31"/>
                    <a:pt x="591" y="70"/>
                  </a:cubicBezTo>
                  <a:cubicBezTo>
                    <a:pt x="591" y="108"/>
                    <a:pt x="560" y="140"/>
                    <a:pt x="521" y="140"/>
                  </a:cubicBezTo>
                  <a:close/>
                </a:path>
              </a:pathLst>
            </a:custGeom>
            <a:solidFill>
              <a:srgbClr val="F147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" name="ïś1ïḍé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352925" y="2420938"/>
              <a:ext cx="338138" cy="1827212"/>
            </a:xfrm>
            <a:custGeom>
              <a:avLst/>
              <a:gdLst>
                <a:gd name="T0" fmla="*/ 108 w 165"/>
                <a:gd name="T1" fmla="*/ 173 h 891"/>
                <a:gd name="T2" fmla="*/ 132 w 165"/>
                <a:gd name="T3" fmla="*/ 891 h 891"/>
                <a:gd name="T4" fmla="*/ 0 w 165"/>
                <a:gd name="T5" fmla="*/ 883 h 891"/>
                <a:gd name="T6" fmla="*/ 2 w 165"/>
                <a:gd name="T7" fmla="*/ 193 h 891"/>
                <a:gd name="T8" fmla="*/ 165 w 165"/>
                <a:gd name="T9" fmla="*/ 0 h 891"/>
                <a:gd name="T10" fmla="*/ 108 w 165"/>
                <a:gd name="T11" fmla="*/ 173 h 8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5" h="891">
                  <a:moveTo>
                    <a:pt x="108" y="173"/>
                  </a:moveTo>
                  <a:cubicBezTo>
                    <a:pt x="100" y="299"/>
                    <a:pt x="124" y="756"/>
                    <a:pt x="132" y="891"/>
                  </a:cubicBezTo>
                  <a:cubicBezTo>
                    <a:pt x="59" y="889"/>
                    <a:pt x="0" y="883"/>
                    <a:pt x="0" y="883"/>
                  </a:cubicBezTo>
                  <a:cubicBezTo>
                    <a:pt x="2" y="193"/>
                    <a:pt x="2" y="193"/>
                    <a:pt x="2" y="193"/>
                  </a:cubicBezTo>
                  <a:cubicBezTo>
                    <a:pt x="2" y="96"/>
                    <a:pt x="72" y="16"/>
                    <a:pt x="165" y="0"/>
                  </a:cubicBezTo>
                  <a:cubicBezTo>
                    <a:pt x="165" y="0"/>
                    <a:pt x="119" y="24"/>
                    <a:pt x="108" y="173"/>
                  </a:cubicBezTo>
                  <a:close/>
                </a:path>
              </a:pathLst>
            </a:custGeom>
            <a:solidFill>
              <a:srgbClr val="1C1C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" name="iṣḻidé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624388" y="2322513"/>
              <a:ext cx="415925" cy="117475"/>
            </a:xfrm>
            <a:custGeom>
              <a:avLst/>
              <a:gdLst>
                <a:gd name="T0" fmla="*/ 262 w 262"/>
                <a:gd name="T1" fmla="*/ 74 h 74"/>
                <a:gd name="T2" fmla="*/ 0 w 262"/>
                <a:gd name="T3" fmla="*/ 74 h 74"/>
                <a:gd name="T4" fmla="*/ 0 w 262"/>
                <a:gd name="T5" fmla="*/ 0 h 74"/>
                <a:gd name="T6" fmla="*/ 262 w 262"/>
                <a:gd name="T7" fmla="*/ 31 h 74"/>
                <a:gd name="T8" fmla="*/ 262 w 262"/>
                <a:gd name="T9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74">
                  <a:moveTo>
                    <a:pt x="262" y="74"/>
                  </a:moveTo>
                  <a:lnTo>
                    <a:pt x="0" y="74"/>
                  </a:lnTo>
                  <a:lnTo>
                    <a:pt x="0" y="0"/>
                  </a:lnTo>
                  <a:lnTo>
                    <a:pt x="262" y="31"/>
                  </a:lnTo>
                  <a:lnTo>
                    <a:pt x="262" y="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" name="ïṧľiď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164013" y="3005138"/>
              <a:ext cx="442913" cy="1631950"/>
            </a:xfrm>
            <a:custGeom>
              <a:avLst/>
              <a:gdLst>
                <a:gd name="T0" fmla="*/ 99 w 216"/>
                <a:gd name="T1" fmla="*/ 723 h 795"/>
                <a:gd name="T2" fmla="*/ 5 w 216"/>
                <a:gd name="T3" fmla="*/ 65 h 795"/>
                <a:gd name="T4" fmla="*/ 54 w 216"/>
                <a:gd name="T5" fmla="*/ 4 h 795"/>
                <a:gd name="T6" fmla="*/ 118 w 216"/>
                <a:gd name="T7" fmla="*/ 50 h 795"/>
                <a:gd name="T8" fmla="*/ 212 w 216"/>
                <a:gd name="T9" fmla="*/ 709 h 795"/>
                <a:gd name="T10" fmla="*/ 163 w 216"/>
                <a:gd name="T11" fmla="*/ 770 h 795"/>
                <a:gd name="T12" fmla="*/ 99 w 216"/>
                <a:gd name="T13" fmla="*/ 723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6" h="795">
                  <a:moveTo>
                    <a:pt x="99" y="723"/>
                  </a:moveTo>
                  <a:cubicBezTo>
                    <a:pt x="5" y="65"/>
                    <a:pt x="5" y="65"/>
                    <a:pt x="5" y="65"/>
                  </a:cubicBezTo>
                  <a:cubicBezTo>
                    <a:pt x="0" y="35"/>
                    <a:pt x="22" y="8"/>
                    <a:pt x="54" y="4"/>
                  </a:cubicBezTo>
                  <a:cubicBezTo>
                    <a:pt x="85" y="0"/>
                    <a:pt x="114" y="21"/>
                    <a:pt x="118" y="50"/>
                  </a:cubicBezTo>
                  <a:cubicBezTo>
                    <a:pt x="212" y="709"/>
                    <a:pt x="212" y="709"/>
                    <a:pt x="212" y="709"/>
                  </a:cubicBezTo>
                  <a:cubicBezTo>
                    <a:pt x="216" y="738"/>
                    <a:pt x="194" y="766"/>
                    <a:pt x="163" y="770"/>
                  </a:cubicBezTo>
                  <a:cubicBezTo>
                    <a:pt x="132" y="773"/>
                    <a:pt x="116" y="795"/>
                    <a:pt x="99" y="723"/>
                  </a:cubicBezTo>
                  <a:close/>
                </a:path>
              </a:pathLst>
            </a:custGeom>
            <a:solidFill>
              <a:srgbClr val="F147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" name="iślîḍe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132388" y="3060700"/>
              <a:ext cx="163513" cy="1085850"/>
            </a:xfrm>
            <a:custGeom>
              <a:avLst/>
              <a:gdLst>
                <a:gd name="T0" fmla="*/ 80 w 80"/>
                <a:gd name="T1" fmla="*/ 157 h 529"/>
                <a:gd name="T2" fmla="*/ 77 w 80"/>
                <a:gd name="T3" fmla="*/ 509 h 529"/>
                <a:gd name="T4" fmla="*/ 47 w 80"/>
                <a:gd name="T5" fmla="*/ 529 h 529"/>
                <a:gd name="T6" fmla="*/ 0 w 80"/>
                <a:gd name="T7" fmla="*/ 0 h 529"/>
                <a:gd name="T8" fmla="*/ 80 w 80"/>
                <a:gd name="T9" fmla="*/ 157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529">
                  <a:moveTo>
                    <a:pt x="80" y="157"/>
                  </a:moveTo>
                  <a:cubicBezTo>
                    <a:pt x="77" y="509"/>
                    <a:pt x="77" y="509"/>
                    <a:pt x="77" y="509"/>
                  </a:cubicBezTo>
                  <a:cubicBezTo>
                    <a:pt x="77" y="509"/>
                    <a:pt x="69" y="517"/>
                    <a:pt x="47" y="52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43" y="107"/>
                    <a:pt x="80" y="157"/>
                  </a:cubicBezTo>
                  <a:close/>
                </a:path>
              </a:pathLst>
            </a:custGeom>
            <a:solidFill>
              <a:srgbClr val="1C1C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" name="îṧḻiďe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704013" y="2827338"/>
              <a:ext cx="401638" cy="320675"/>
            </a:xfrm>
            <a:prstGeom prst="rect">
              <a:avLst/>
            </a:prstGeom>
            <a:solidFill>
              <a:srgbClr val="5656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2" name="îṣḻíd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759575" y="2801938"/>
              <a:ext cx="285750" cy="285750"/>
            </a:xfrm>
            <a:custGeom>
              <a:avLst/>
              <a:gdLst>
                <a:gd name="T0" fmla="*/ 126 w 139"/>
                <a:gd name="T1" fmla="*/ 0 h 139"/>
                <a:gd name="T2" fmla="*/ 0 w 139"/>
                <a:gd name="T3" fmla="*/ 139 h 139"/>
                <a:gd name="T4" fmla="*/ 136 w 139"/>
                <a:gd name="T5" fmla="*/ 139 h 139"/>
                <a:gd name="T6" fmla="*/ 139 w 139"/>
                <a:gd name="T7" fmla="*/ 136 h 139"/>
                <a:gd name="T8" fmla="*/ 139 w 139"/>
                <a:gd name="T9" fmla="*/ 12 h 139"/>
                <a:gd name="T10" fmla="*/ 126 w 139"/>
                <a:gd name="T11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9" h="139">
                  <a:moveTo>
                    <a:pt x="126" y="0"/>
                  </a:moveTo>
                  <a:cubicBezTo>
                    <a:pt x="101" y="30"/>
                    <a:pt x="51" y="85"/>
                    <a:pt x="0" y="139"/>
                  </a:cubicBezTo>
                  <a:cubicBezTo>
                    <a:pt x="136" y="139"/>
                    <a:pt x="136" y="139"/>
                    <a:pt x="136" y="139"/>
                  </a:cubicBezTo>
                  <a:cubicBezTo>
                    <a:pt x="138" y="139"/>
                    <a:pt x="139" y="138"/>
                    <a:pt x="139" y="136"/>
                  </a:cubicBezTo>
                  <a:cubicBezTo>
                    <a:pt x="139" y="12"/>
                    <a:pt x="139" y="12"/>
                    <a:pt x="139" y="12"/>
                  </a:cubicBezTo>
                  <a:cubicBezTo>
                    <a:pt x="126" y="0"/>
                    <a:pt x="126" y="0"/>
                    <a:pt x="126" y="0"/>
                  </a:cubicBezTo>
                </a:path>
              </a:pathLst>
            </a:custGeom>
            <a:solidFill>
              <a:srgbClr val="1626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3" name="îsľïḍ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511925" y="3148013"/>
              <a:ext cx="546100" cy="198437"/>
            </a:xfrm>
            <a:custGeom>
              <a:avLst/>
              <a:gdLst>
                <a:gd name="T0" fmla="*/ 266 w 266"/>
                <a:gd name="T1" fmla="*/ 0 h 97"/>
                <a:gd name="T2" fmla="*/ 94 w 266"/>
                <a:gd name="T3" fmla="*/ 0 h 97"/>
                <a:gd name="T4" fmla="*/ 0 w 266"/>
                <a:gd name="T5" fmla="*/ 97 h 97"/>
                <a:gd name="T6" fmla="*/ 220 w 266"/>
                <a:gd name="T7" fmla="*/ 97 h 97"/>
                <a:gd name="T8" fmla="*/ 250 w 266"/>
                <a:gd name="T9" fmla="*/ 91 h 97"/>
                <a:gd name="T10" fmla="*/ 266 w 26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6" h="97">
                  <a:moveTo>
                    <a:pt x="266" y="0"/>
                  </a:moveTo>
                  <a:cubicBezTo>
                    <a:pt x="94" y="0"/>
                    <a:pt x="94" y="0"/>
                    <a:pt x="94" y="0"/>
                  </a:cubicBezTo>
                  <a:cubicBezTo>
                    <a:pt x="56" y="39"/>
                    <a:pt x="21" y="76"/>
                    <a:pt x="0" y="97"/>
                  </a:cubicBezTo>
                  <a:cubicBezTo>
                    <a:pt x="220" y="97"/>
                    <a:pt x="220" y="97"/>
                    <a:pt x="220" y="97"/>
                  </a:cubicBezTo>
                  <a:cubicBezTo>
                    <a:pt x="231" y="97"/>
                    <a:pt x="241" y="95"/>
                    <a:pt x="250" y="91"/>
                  </a:cubicBezTo>
                  <a:cubicBezTo>
                    <a:pt x="266" y="0"/>
                    <a:pt x="266" y="0"/>
                    <a:pt x="266" y="0"/>
                  </a:cubicBezTo>
                </a:path>
              </a:pathLst>
            </a:custGeom>
            <a:solidFill>
              <a:srgbClr val="7C7B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5171940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" dur="2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0000"/>
                                      </p:to>
                                    </p:animClr>
                                  </p:childTnLst>
                                </p:cTn>
                              </p:par>
                              <p:par>
                                <p:cTn id="7" presetID="3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8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3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2" dur="2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0000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6" dur="2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0000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3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0" dur="2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0000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3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4" dur="2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0000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3.xml><?xml version="1.0" encoding="utf-8"?>
<p:sld xmlns:a14="http://schemas.microsoft.com/office/drawing/2010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>
          <a:grpSpLocks noGrp="1" noUngrp="1" noSelect="1" noRot="1" noChangeAspect="1" noMove="1" noResize="1"/>
        </p:cNvGrpSpPr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 noSelect="1" noRot="1" noChangeAspect="1" noMove="1" noResize="1" noEditPoints="1" noAdjustHandles="1" noChangeArrowheads="1" noChangeShapeType="1" noTextEdit="1"/>
          </p:cNvSpPr>
          <p:nvPr>
            <p:ph sz="quarter" idx="11"/>
          </p:nvPr>
        </p:nvSpPr>
        <p:spPr/>
        <p:txBody>
          <a:bodyPr/>
          <a:lstStyle/>
          <a:p>
            <a:r>
              <a:rPr kumimoji="1" lang="en-US" altLang="zh-CN"/>
              <a:t>if</a:t>
            </a:r>
            <a:r>
              <a:rPr kumimoji="1" lang="zh-CN" altLang="en-US"/>
              <a:t>语句</a:t>
            </a:r>
          </a:p>
        </p:txBody>
      </p:sp>
      <p:sp>
        <p:nvSpPr>
          <p:cNvPr id="3" name="内容占位符 2"/>
          <p:cNvSpPr>
            <a:spLocks noGrp="1" noSelect="1" noRot="1" noChangeAspect="1" noMove="1" noResize="1" noEditPoints="1" noAdjustHandles="1" noChangeArrowheads="1" noChangeShapeType="1" noTextEdit="1"/>
          </p:cNvSpPr>
          <p:nvPr>
            <p:ph sz="quarter" idx="10"/>
          </p:nvPr>
        </p:nvSpPr>
        <p:spPr>
          <a:xfrm>
            <a:off x="766762" y="1197000"/>
            <a:ext cx="10658475" cy="489600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kumimoji="1" lang="en-US" altLang="zh-CN" sz="3600" b="0" dirty="0">
                <a:solidFill>
                  <a:schemeClr val="accent5"/>
                </a:solidFill>
                <a:latin typeface="+mn-ea"/>
                <a:ea typeface="+mn-ea"/>
              </a:rPr>
              <a:t>if</a:t>
            </a:r>
            <a:r>
              <a:rPr kumimoji="1" lang="zh-CN" altLang="en-US" sz="3600" b="0" dirty="0">
                <a:solidFill>
                  <a:schemeClr val="accent5"/>
                </a:solidFill>
                <a:latin typeface="+mn-ea"/>
                <a:ea typeface="+mn-ea"/>
              </a:rPr>
              <a:t> 判断条件</a:t>
            </a:r>
            <a:r>
              <a:rPr kumimoji="1" lang="zh-CN" altLang="en-US" sz="3600" b="0" dirty="0" smtClean="0">
                <a:solidFill>
                  <a:schemeClr val="accent5"/>
                </a:solidFill>
                <a:latin typeface="+mn-ea"/>
                <a:ea typeface="+mn-ea"/>
              </a:rPr>
              <a:t>为假</a:t>
            </a:r>
            <a:r>
              <a:rPr kumimoji="1" lang="en-US" altLang="zh-CN" sz="3600" b="0" dirty="0" smtClean="0">
                <a:solidFill>
                  <a:schemeClr val="accent5"/>
                </a:solidFill>
                <a:latin typeface="+mn-ea"/>
                <a:ea typeface="+mn-ea"/>
              </a:rPr>
              <a:t>:</a:t>
            </a:r>
            <a:endParaRPr kumimoji="1" lang="en-US" altLang="zh-CN" sz="3600" b="0" dirty="0">
              <a:solidFill>
                <a:schemeClr val="accent5"/>
              </a:solidFill>
              <a:latin typeface="+mn-ea"/>
              <a:ea typeface="+mn-ea"/>
            </a:endParaRPr>
          </a:p>
          <a:p>
            <a:pPr marL="0" indent="0">
              <a:buNone/>
            </a:pPr>
            <a:r>
              <a:rPr kumimoji="1" lang="zh-CN" altLang="en-US" sz="3600" b="0" dirty="0">
                <a:solidFill>
                  <a:schemeClr val="accent5"/>
                </a:solidFill>
                <a:latin typeface="+mn-ea"/>
                <a:ea typeface="+mn-ea"/>
              </a:rPr>
              <a:t>    语句</a:t>
            </a:r>
            <a:r>
              <a:rPr kumimoji="1" lang="en-US" altLang="zh-CN" sz="3600" b="0" dirty="0">
                <a:solidFill>
                  <a:schemeClr val="accent5"/>
                </a:solidFill>
                <a:latin typeface="+mn-ea"/>
                <a:ea typeface="+mn-ea"/>
              </a:rPr>
              <a:t>1</a:t>
            </a:r>
          </a:p>
          <a:p>
            <a:pPr marL="0" indent="0">
              <a:buNone/>
            </a:pPr>
            <a:r>
              <a:rPr kumimoji="1" lang="zh-CN" altLang="en-US" sz="3600" b="0" dirty="0">
                <a:solidFill>
                  <a:schemeClr val="accent5"/>
                </a:solidFill>
                <a:latin typeface="+mn-ea"/>
                <a:ea typeface="+mn-ea"/>
              </a:rPr>
              <a:t>    语句</a:t>
            </a:r>
            <a:r>
              <a:rPr kumimoji="1" lang="en-US" altLang="zh-CN" sz="3600" b="0" dirty="0">
                <a:solidFill>
                  <a:schemeClr val="accent5"/>
                </a:solidFill>
                <a:latin typeface="+mn-ea"/>
                <a:ea typeface="+mn-ea"/>
              </a:rPr>
              <a:t>2</a:t>
            </a:r>
          </a:p>
          <a:p>
            <a:pPr marL="0" indent="0">
              <a:buNone/>
            </a:pPr>
            <a:r>
              <a:rPr kumimoji="1" lang="zh-CN" altLang="en-US" sz="3600" b="0" dirty="0">
                <a:solidFill>
                  <a:schemeClr val="accent5"/>
                </a:solidFill>
                <a:latin typeface="+mn-ea"/>
                <a:ea typeface="+mn-ea"/>
              </a:rPr>
              <a:t>    </a:t>
            </a:r>
            <a:r>
              <a:rPr kumimoji="1" lang="en-US" altLang="zh-CN" sz="3600" b="0" dirty="0">
                <a:solidFill>
                  <a:schemeClr val="accent5"/>
                </a:solidFill>
                <a:latin typeface="+mn-ea"/>
                <a:ea typeface="+mn-ea"/>
              </a:rPr>
              <a:t>...</a:t>
            </a:r>
            <a:r>
              <a:rPr kumimoji="1" lang="zh-CN" altLang="en-US" sz="3600" b="0" dirty="0">
                <a:solidFill>
                  <a:schemeClr val="accent5"/>
                </a:solidFill>
                <a:latin typeface="+mn-ea"/>
                <a:ea typeface="+mn-ea"/>
              </a:rPr>
              <a:t> </a:t>
            </a:r>
            <a:r>
              <a:rPr kumimoji="1" lang="en-US" altLang="zh-CN" sz="3600" b="0" dirty="0">
                <a:solidFill>
                  <a:schemeClr val="accent5"/>
                </a:solidFill>
                <a:latin typeface="+mn-ea"/>
                <a:ea typeface="+mn-ea"/>
              </a:rPr>
              <a:t>...</a:t>
            </a:r>
          </a:p>
          <a:p>
            <a:pPr marL="0" indent="0">
              <a:buNone/>
            </a:pPr>
            <a:r>
              <a:rPr kumimoji="1" lang="zh-CN" altLang="en-US" sz="3600" b="0" dirty="0">
                <a:solidFill>
                  <a:schemeClr val="accent5"/>
                </a:solidFill>
                <a:latin typeface="+mn-ea"/>
                <a:ea typeface="+mn-ea"/>
              </a:rPr>
              <a:t>其他语句</a:t>
            </a:r>
            <a:endParaRPr kumimoji="1" lang="en-US" altLang="zh-CN" sz="3600" b="0" dirty="0">
              <a:solidFill>
                <a:schemeClr val="accent5"/>
              </a:solidFill>
              <a:latin typeface="+mn-ea"/>
              <a:ea typeface="+mn-ea"/>
            </a:endParaRPr>
          </a:p>
        </p:txBody>
      </p:sp>
      <p:sp>
        <p:nvSpPr>
          <p:cNvPr id="4" name="文本框 3"/>
          <p:cNvSpPr txBox="1">
            <a:spLocks noGrp="1" noSelect="1" noRot="1" noChangeAspect="1" noMove="1" noResize="1" noEditPoints="1" noAdjustHandles="1" noChangeArrowheads="1" noChangeShapeType="1" noTextEdit="1"/>
          </p:cNvSpPr>
          <p:nvPr/>
        </p:nvSpPr>
        <p:spPr>
          <a:xfrm>
            <a:off x="766762" y="1250091"/>
            <a:ext cx="25603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3600" dirty="0">
                <a:solidFill>
                  <a:schemeClr val="accent5"/>
                </a:solidFill>
                <a:latin typeface="+mn-ea"/>
              </a:rPr>
              <a:t>if</a:t>
            </a:r>
            <a:endParaRPr lang="zh-CN" altLang="en-US" sz="3600" dirty="0"/>
          </a:p>
        </p:txBody>
      </p:sp>
      <p:grpSp>
        <p:nvGrpSpPr>
          <p:cNvPr id="344" name="组合 343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Grp="1" noUngrp="1" noSelect="1" noRot="1" noChangeAspect="1" noMove="1" noResize="1"/>
          </p:cNvGrpSpPr>
          <p:nvPr/>
        </p:nvGrpSpPr>
        <p:grpSpPr>
          <a:xfrm>
            <a:off x="6321425" y="1804470"/>
            <a:ext cx="4986338" cy="3681059"/>
            <a:chOff x="2994025" y="1274763"/>
            <a:chExt cx="6203951" cy="4579937"/>
          </a:xfrm>
        </p:grpSpPr>
        <p:sp>
          <p:nvSpPr>
            <p:cNvPr id="345" name="ïšlíḍ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121275" y="1401763"/>
              <a:ext cx="225425" cy="334962"/>
            </a:xfrm>
            <a:custGeom>
              <a:avLst/>
              <a:gdLst>
                <a:gd name="T0" fmla="*/ 2 w 110"/>
                <a:gd name="T1" fmla="*/ 0 h 163"/>
                <a:gd name="T2" fmla="*/ 57 w 110"/>
                <a:gd name="T3" fmla="*/ 33 h 163"/>
                <a:gd name="T4" fmla="*/ 89 w 110"/>
                <a:gd name="T5" fmla="*/ 149 h 163"/>
                <a:gd name="T6" fmla="*/ 83 w 110"/>
                <a:gd name="T7" fmla="*/ 162 h 163"/>
                <a:gd name="T8" fmla="*/ 0 w 110"/>
                <a:gd name="T9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63">
                  <a:moveTo>
                    <a:pt x="2" y="0"/>
                  </a:moveTo>
                  <a:cubicBezTo>
                    <a:pt x="57" y="33"/>
                    <a:pt x="57" y="33"/>
                    <a:pt x="57" y="33"/>
                  </a:cubicBezTo>
                  <a:cubicBezTo>
                    <a:pt x="96" y="58"/>
                    <a:pt x="110" y="108"/>
                    <a:pt x="89" y="149"/>
                  </a:cubicBezTo>
                  <a:cubicBezTo>
                    <a:pt x="85" y="158"/>
                    <a:pt x="82" y="163"/>
                    <a:pt x="83" y="162"/>
                  </a:cubicBezTo>
                  <a:cubicBezTo>
                    <a:pt x="85" y="160"/>
                    <a:pt x="0" y="0"/>
                    <a:pt x="0" y="0"/>
                  </a:cubicBezTo>
                </a:path>
              </a:pathLst>
            </a:custGeom>
            <a:solidFill>
              <a:srgbClr val="7C4B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6" name="îšľïḑè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683125" y="2003425"/>
              <a:ext cx="250825" cy="463550"/>
            </a:xfrm>
            <a:custGeom>
              <a:avLst/>
              <a:gdLst>
                <a:gd name="T0" fmla="*/ 75 w 122"/>
                <a:gd name="T1" fmla="*/ 226 h 226"/>
                <a:gd name="T2" fmla="*/ 47 w 122"/>
                <a:gd name="T3" fmla="*/ 226 h 226"/>
                <a:gd name="T4" fmla="*/ 0 w 122"/>
                <a:gd name="T5" fmla="*/ 179 h 226"/>
                <a:gd name="T6" fmla="*/ 0 w 122"/>
                <a:gd name="T7" fmla="*/ 47 h 226"/>
                <a:gd name="T8" fmla="*/ 47 w 122"/>
                <a:gd name="T9" fmla="*/ 0 h 226"/>
                <a:gd name="T10" fmla="*/ 75 w 122"/>
                <a:gd name="T11" fmla="*/ 0 h 226"/>
                <a:gd name="T12" fmla="*/ 122 w 122"/>
                <a:gd name="T13" fmla="*/ 47 h 226"/>
                <a:gd name="T14" fmla="*/ 122 w 122"/>
                <a:gd name="T15" fmla="*/ 179 h 226"/>
                <a:gd name="T16" fmla="*/ 75 w 122"/>
                <a:gd name="T17" fmla="*/ 226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2" h="226">
                  <a:moveTo>
                    <a:pt x="75" y="226"/>
                  </a:moveTo>
                  <a:cubicBezTo>
                    <a:pt x="47" y="226"/>
                    <a:pt x="47" y="226"/>
                    <a:pt x="47" y="226"/>
                  </a:cubicBezTo>
                  <a:cubicBezTo>
                    <a:pt x="21" y="226"/>
                    <a:pt x="0" y="205"/>
                    <a:pt x="0" y="179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21"/>
                    <a:pt x="21" y="0"/>
                    <a:pt x="47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101" y="0"/>
                    <a:pt x="122" y="21"/>
                    <a:pt x="122" y="47"/>
                  </a:cubicBezTo>
                  <a:cubicBezTo>
                    <a:pt x="122" y="179"/>
                    <a:pt x="122" y="179"/>
                    <a:pt x="122" y="179"/>
                  </a:cubicBezTo>
                  <a:cubicBezTo>
                    <a:pt x="122" y="205"/>
                    <a:pt x="101" y="226"/>
                    <a:pt x="75" y="226"/>
                  </a:cubicBezTo>
                </a:path>
              </a:pathLst>
            </a:custGeom>
            <a:solidFill>
              <a:srgbClr val="FCBB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7" name="ïSḻíḑé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471988" y="1323975"/>
              <a:ext cx="820738" cy="812800"/>
            </a:xfrm>
            <a:custGeom>
              <a:avLst/>
              <a:gdLst>
                <a:gd name="T0" fmla="*/ 399 w 400"/>
                <a:gd name="T1" fmla="*/ 200 h 396"/>
                <a:gd name="T2" fmla="*/ 350 w 400"/>
                <a:gd name="T3" fmla="*/ 240 h 396"/>
                <a:gd name="T4" fmla="*/ 358 w 400"/>
                <a:gd name="T5" fmla="*/ 263 h 396"/>
                <a:gd name="T6" fmla="*/ 351 w 400"/>
                <a:gd name="T7" fmla="*/ 274 h 396"/>
                <a:gd name="T8" fmla="*/ 287 w 400"/>
                <a:gd name="T9" fmla="*/ 379 h 396"/>
                <a:gd name="T10" fmla="*/ 203 w 400"/>
                <a:gd name="T11" fmla="*/ 391 h 396"/>
                <a:gd name="T12" fmla="*/ 161 w 400"/>
                <a:gd name="T13" fmla="*/ 392 h 396"/>
                <a:gd name="T14" fmla="*/ 99 w 400"/>
                <a:gd name="T15" fmla="*/ 387 h 396"/>
                <a:gd name="T16" fmla="*/ 82 w 400"/>
                <a:gd name="T17" fmla="*/ 375 h 396"/>
                <a:gd name="T18" fmla="*/ 56 w 400"/>
                <a:gd name="T19" fmla="*/ 342 h 396"/>
                <a:gd name="T20" fmla="*/ 47 w 400"/>
                <a:gd name="T21" fmla="*/ 327 h 396"/>
                <a:gd name="T22" fmla="*/ 2 w 400"/>
                <a:gd name="T23" fmla="*/ 172 h 396"/>
                <a:gd name="T24" fmla="*/ 221 w 400"/>
                <a:gd name="T25" fmla="*/ 8 h 396"/>
                <a:gd name="T26" fmla="*/ 230 w 400"/>
                <a:gd name="T27" fmla="*/ 9 h 396"/>
                <a:gd name="T28" fmla="*/ 375 w 400"/>
                <a:gd name="T29" fmla="*/ 93 h 396"/>
                <a:gd name="T30" fmla="*/ 380 w 400"/>
                <a:gd name="T31" fmla="*/ 100 h 396"/>
                <a:gd name="T32" fmla="*/ 380 w 400"/>
                <a:gd name="T33" fmla="*/ 100 h 396"/>
                <a:gd name="T34" fmla="*/ 395 w 400"/>
                <a:gd name="T35" fmla="*/ 179 h 396"/>
                <a:gd name="T36" fmla="*/ 399 w 400"/>
                <a:gd name="T37" fmla="*/ 200 h 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0" h="396">
                  <a:moveTo>
                    <a:pt x="399" y="200"/>
                  </a:moveTo>
                  <a:cubicBezTo>
                    <a:pt x="400" y="211"/>
                    <a:pt x="350" y="229"/>
                    <a:pt x="350" y="240"/>
                  </a:cubicBezTo>
                  <a:cubicBezTo>
                    <a:pt x="358" y="263"/>
                    <a:pt x="358" y="263"/>
                    <a:pt x="358" y="263"/>
                  </a:cubicBezTo>
                  <a:cubicBezTo>
                    <a:pt x="297" y="240"/>
                    <a:pt x="351" y="274"/>
                    <a:pt x="351" y="274"/>
                  </a:cubicBezTo>
                  <a:cubicBezTo>
                    <a:pt x="332" y="328"/>
                    <a:pt x="339" y="358"/>
                    <a:pt x="287" y="379"/>
                  </a:cubicBezTo>
                  <a:cubicBezTo>
                    <a:pt x="261" y="389"/>
                    <a:pt x="233" y="394"/>
                    <a:pt x="203" y="391"/>
                  </a:cubicBezTo>
                  <a:cubicBezTo>
                    <a:pt x="188" y="390"/>
                    <a:pt x="175" y="391"/>
                    <a:pt x="161" y="392"/>
                  </a:cubicBezTo>
                  <a:cubicBezTo>
                    <a:pt x="138" y="394"/>
                    <a:pt x="118" y="396"/>
                    <a:pt x="99" y="387"/>
                  </a:cubicBezTo>
                  <a:cubicBezTo>
                    <a:pt x="93" y="385"/>
                    <a:pt x="88" y="381"/>
                    <a:pt x="82" y="375"/>
                  </a:cubicBezTo>
                  <a:cubicBezTo>
                    <a:pt x="72" y="365"/>
                    <a:pt x="63" y="354"/>
                    <a:pt x="56" y="342"/>
                  </a:cubicBezTo>
                  <a:cubicBezTo>
                    <a:pt x="53" y="337"/>
                    <a:pt x="50" y="332"/>
                    <a:pt x="47" y="327"/>
                  </a:cubicBezTo>
                  <a:cubicBezTo>
                    <a:pt x="32" y="297"/>
                    <a:pt x="0" y="208"/>
                    <a:pt x="2" y="172"/>
                  </a:cubicBezTo>
                  <a:cubicBezTo>
                    <a:pt x="9" y="69"/>
                    <a:pt x="108" y="0"/>
                    <a:pt x="221" y="8"/>
                  </a:cubicBezTo>
                  <a:cubicBezTo>
                    <a:pt x="224" y="8"/>
                    <a:pt x="227" y="8"/>
                    <a:pt x="230" y="9"/>
                  </a:cubicBezTo>
                  <a:cubicBezTo>
                    <a:pt x="291" y="13"/>
                    <a:pt x="343" y="45"/>
                    <a:pt x="375" y="93"/>
                  </a:cubicBezTo>
                  <a:cubicBezTo>
                    <a:pt x="377" y="95"/>
                    <a:pt x="379" y="98"/>
                    <a:pt x="380" y="100"/>
                  </a:cubicBezTo>
                  <a:cubicBezTo>
                    <a:pt x="380" y="100"/>
                    <a:pt x="380" y="100"/>
                    <a:pt x="380" y="100"/>
                  </a:cubicBezTo>
                  <a:cubicBezTo>
                    <a:pt x="390" y="115"/>
                    <a:pt x="395" y="179"/>
                    <a:pt x="395" y="179"/>
                  </a:cubicBezTo>
                  <a:cubicBezTo>
                    <a:pt x="397" y="186"/>
                    <a:pt x="398" y="193"/>
                    <a:pt x="399" y="200"/>
                  </a:cubicBezTo>
                </a:path>
              </a:pathLst>
            </a:custGeom>
            <a:solidFill>
              <a:srgbClr val="7C4B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8" name="ïś1íḓé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633913" y="1462088"/>
              <a:ext cx="647700" cy="822325"/>
            </a:xfrm>
            <a:custGeom>
              <a:avLst/>
              <a:gdLst>
                <a:gd name="T0" fmla="*/ 315 w 316"/>
                <a:gd name="T1" fmla="*/ 166 h 401"/>
                <a:gd name="T2" fmla="*/ 314 w 316"/>
                <a:gd name="T3" fmla="*/ 194 h 401"/>
                <a:gd name="T4" fmla="*/ 311 w 316"/>
                <a:gd name="T5" fmla="*/ 241 h 401"/>
                <a:gd name="T6" fmla="*/ 308 w 316"/>
                <a:gd name="T7" fmla="*/ 258 h 401"/>
                <a:gd name="T8" fmla="*/ 302 w 316"/>
                <a:gd name="T9" fmla="*/ 311 h 401"/>
                <a:gd name="T10" fmla="*/ 178 w 316"/>
                <a:gd name="T11" fmla="*/ 400 h 401"/>
                <a:gd name="T12" fmla="*/ 172 w 316"/>
                <a:gd name="T13" fmla="*/ 400 h 401"/>
                <a:gd name="T14" fmla="*/ 150 w 316"/>
                <a:gd name="T15" fmla="*/ 401 h 401"/>
                <a:gd name="T16" fmla="*/ 129 w 316"/>
                <a:gd name="T17" fmla="*/ 398 h 401"/>
                <a:gd name="T18" fmla="*/ 91 w 316"/>
                <a:gd name="T19" fmla="*/ 386 h 401"/>
                <a:gd name="T20" fmla="*/ 91 w 316"/>
                <a:gd name="T21" fmla="*/ 386 h 401"/>
                <a:gd name="T22" fmla="*/ 20 w 316"/>
                <a:gd name="T23" fmla="*/ 320 h 401"/>
                <a:gd name="T24" fmla="*/ 0 w 316"/>
                <a:gd name="T25" fmla="*/ 249 h 401"/>
                <a:gd name="T26" fmla="*/ 0 w 316"/>
                <a:gd name="T27" fmla="*/ 244 h 401"/>
                <a:gd name="T28" fmla="*/ 0 w 316"/>
                <a:gd name="T29" fmla="*/ 237 h 401"/>
                <a:gd name="T30" fmla="*/ 0 w 316"/>
                <a:gd name="T31" fmla="*/ 236 h 401"/>
                <a:gd name="T32" fmla="*/ 0 w 316"/>
                <a:gd name="T33" fmla="*/ 231 h 401"/>
                <a:gd name="T34" fmla="*/ 1 w 316"/>
                <a:gd name="T35" fmla="*/ 218 h 401"/>
                <a:gd name="T36" fmla="*/ 3 w 316"/>
                <a:gd name="T37" fmla="*/ 172 h 401"/>
                <a:gd name="T38" fmla="*/ 4 w 316"/>
                <a:gd name="T39" fmla="*/ 171 h 401"/>
                <a:gd name="T40" fmla="*/ 4 w 316"/>
                <a:gd name="T41" fmla="*/ 171 h 401"/>
                <a:gd name="T42" fmla="*/ 4 w 316"/>
                <a:gd name="T43" fmla="*/ 163 h 401"/>
                <a:gd name="T44" fmla="*/ 4 w 316"/>
                <a:gd name="T45" fmla="*/ 156 h 401"/>
                <a:gd name="T46" fmla="*/ 5 w 316"/>
                <a:gd name="T47" fmla="*/ 150 h 401"/>
                <a:gd name="T48" fmla="*/ 5 w 316"/>
                <a:gd name="T49" fmla="*/ 148 h 401"/>
                <a:gd name="T50" fmla="*/ 11 w 316"/>
                <a:gd name="T51" fmla="*/ 118 h 401"/>
                <a:gd name="T52" fmla="*/ 18 w 316"/>
                <a:gd name="T53" fmla="*/ 98 h 401"/>
                <a:gd name="T54" fmla="*/ 19 w 316"/>
                <a:gd name="T55" fmla="*/ 95 h 401"/>
                <a:gd name="T56" fmla="*/ 28 w 316"/>
                <a:gd name="T57" fmla="*/ 79 h 401"/>
                <a:gd name="T58" fmla="*/ 28 w 316"/>
                <a:gd name="T59" fmla="*/ 79 h 401"/>
                <a:gd name="T60" fmla="*/ 72 w 316"/>
                <a:gd name="T61" fmla="*/ 31 h 401"/>
                <a:gd name="T62" fmla="*/ 83 w 316"/>
                <a:gd name="T63" fmla="*/ 24 h 401"/>
                <a:gd name="T64" fmla="*/ 173 w 316"/>
                <a:gd name="T65" fmla="*/ 2 h 401"/>
                <a:gd name="T66" fmla="*/ 242 w 316"/>
                <a:gd name="T67" fmla="*/ 25 h 401"/>
                <a:gd name="T68" fmla="*/ 278 w 316"/>
                <a:gd name="T69" fmla="*/ 54 h 401"/>
                <a:gd name="T70" fmla="*/ 309 w 316"/>
                <a:gd name="T71" fmla="*/ 109 h 401"/>
                <a:gd name="T72" fmla="*/ 310 w 316"/>
                <a:gd name="T73" fmla="*/ 112 h 401"/>
                <a:gd name="T74" fmla="*/ 314 w 316"/>
                <a:gd name="T75" fmla="*/ 133 h 401"/>
                <a:gd name="T76" fmla="*/ 315 w 316"/>
                <a:gd name="T77" fmla="*/ 166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16" h="401">
                  <a:moveTo>
                    <a:pt x="315" y="166"/>
                  </a:moveTo>
                  <a:cubicBezTo>
                    <a:pt x="314" y="194"/>
                    <a:pt x="314" y="194"/>
                    <a:pt x="314" y="194"/>
                  </a:cubicBezTo>
                  <a:cubicBezTo>
                    <a:pt x="311" y="241"/>
                    <a:pt x="311" y="241"/>
                    <a:pt x="311" y="241"/>
                  </a:cubicBezTo>
                  <a:cubicBezTo>
                    <a:pt x="308" y="258"/>
                    <a:pt x="308" y="258"/>
                    <a:pt x="308" y="258"/>
                  </a:cubicBezTo>
                  <a:cubicBezTo>
                    <a:pt x="307" y="265"/>
                    <a:pt x="304" y="304"/>
                    <a:pt x="302" y="311"/>
                  </a:cubicBezTo>
                  <a:cubicBezTo>
                    <a:pt x="289" y="377"/>
                    <a:pt x="246" y="391"/>
                    <a:pt x="178" y="400"/>
                  </a:cubicBezTo>
                  <a:cubicBezTo>
                    <a:pt x="176" y="400"/>
                    <a:pt x="174" y="400"/>
                    <a:pt x="172" y="400"/>
                  </a:cubicBezTo>
                  <a:cubicBezTo>
                    <a:pt x="165" y="401"/>
                    <a:pt x="158" y="401"/>
                    <a:pt x="150" y="401"/>
                  </a:cubicBezTo>
                  <a:cubicBezTo>
                    <a:pt x="143" y="400"/>
                    <a:pt x="136" y="399"/>
                    <a:pt x="129" y="398"/>
                  </a:cubicBezTo>
                  <a:cubicBezTo>
                    <a:pt x="116" y="396"/>
                    <a:pt x="103" y="391"/>
                    <a:pt x="91" y="386"/>
                  </a:cubicBezTo>
                  <a:cubicBezTo>
                    <a:pt x="91" y="386"/>
                    <a:pt x="91" y="386"/>
                    <a:pt x="91" y="386"/>
                  </a:cubicBezTo>
                  <a:cubicBezTo>
                    <a:pt x="61" y="372"/>
                    <a:pt x="36" y="349"/>
                    <a:pt x="20" y="320"/>
                  </a:cubicBezTo>
                  <a:cubicBezTo>
                    <a:pt x="8" y="299"/>
                    <a:pt x="1" y="275"/>
                    <a:pt x="0" y="249"/>
                  </a:cubicBezTo>
                  <a:cubicBezTo>
                    <a:pt x="0" y="247"/>
                    <a:pt x="0" y="245"/>
                    <a:pt x="0" y="244"/>
                  </a:cubicBezTo>
                  <a:cubicBezTo>
                    <a:pt x="0" y="242"/>
                    <a:pt x="0" y="239"/>
                    <a:pt x="0" y="237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0" y="231"/>
                    <a:pt x="0" y="231"/>
                    <a:pt x="0" y="231"/>
                  </a:cubicBezTo>
                  <a:cubicBezTo>
                    <a:pt x="1" y="218"/>
                    <a:pt x="1" y="218"/>
                    <a:pt x="1" y="218"/>
                  </a:cubicBezTo>
                  <a:cubicBezTo>
                    <a:pt x="3" y="172"/>
                    <a:pt x="3" y="172"/>
                    <a:pt x="3" y="172"/>
                  </a:cubicBezTo>
                  <a:cubicBezTo>
                    <a:pt x="4" y="171"/>
                    <a:pt x="4" y="171"/>
                    <a:pt x="4" y="171"/>
                  </a:cubicBezTo>
                  <a:cubicBezTo>
                    <a:pt x="4" y="171"/>
                    <a:pt x="4" y="171"/>
                    <a:pt x="4" y="171"/>
                  </a:cubicBezTo>
                  <a:cubicBezTo>
                    <a:pt x="4" y="163"/>
                    <a:pt x="4" y="163"/>
                    <a:pt x="4" y="163"/>
                  </a:cubicBezTo>
                  <a:cubicBezTo>
                    <a:pt x="4" y="156"/>
                    <a:pt x="4" y="156"/>
                    <a:pt x="4" y="156"/>
                  </a:cubicBezTo>
                  <a:cubicBezTo>
                    <a:pt x="5" y="150"/>
                    <a:pt x="5" y="150"/>
                    <a:pt x="5" y="150"/>
                  </a:cubicBezTo>
                  <a:cubicBezTo>
                    <a:pt x="5" y="148"/>
                    <a:pt x="5" y="148"/>
                    <a:pt x="5" y="148"/>
                  </a:cubicBezTo>
                  <a:cubicBezTo>
                    <a:pt x="5" y="138"/>
                    <a:pt x="8" y="128"/>
                    <a:pt x="11" y="118"/>
                  </a:cubicBezTo>
                  <a:cubicBezTo>
                    <a:pt x="13" y="111"/>
                    <a:pt x="15" y="104"/>
                    <a:pt x="18" y="98"/>
                  </a:cubicBezTo>
                  <a:cubicBezTo>
                    <a:pt x="19" y="97"/>
                    <a:pt x="19" y="96"/>
                    <a:pt x="19" y="95"/>
                  </a:cubicBezTo>
                  <a:cubicBezTo>
                    <a:pt x="22" y="89"/>
                    <a:pt x="25" y="84"/>
                    <a:pt x="28" y="79"/>
                  </a:cubicBezTo>
                  <a:cubicBezTo>
                    <a:pt x="28" y="79"/>
                    <a:pt x="28" y="79"/>
                    <a:pt x="28" y="79"/>
                  </a:cubicBezTo>
                  <a:cubicBezTo>
                    <a:pt x="39" y="60"/>
                    <a:pt x="54" y="44"/>
                    <a:pt x="72" y="31"/>
                  </a:cubicBezTo>
                  <a:cubicBezTo>
                    <a:pt x="76" y="29"/>
                    <a:pt x="80" y="26"/>
                    <a:pt x="83" y="24"/>
                  </a:cubicBezTo>
                  <a:cubicBezTo>
                    <a:pt x="110" y="8"/>
                    <a:pt x="141" y="0"/>
                    <a:pt x="173" y="2"/>
                  </a:cubicBezTo>
                  <a:cubicBezTo>
                    <a:pt x="200" y="3"/>
                    <a:pt x="220" y="11"/>
                    <a:pt x="242" y="25"/>
                  </a:cubicBezTo>
                  <a:cubicBezTo>
                    <a:pt x="256" y="32"/>
                    <a:pt x="268" y="42"/>
                    <a:pt x="278" y="54"/>
                  </a:cubicBezTo>
                  <a:cubicBezTo>
                    <a:pt x="292" y="69"/>
                    <a:pt x="302" y="88"/>
                    <a:pt x="309" y="109"/>
                  </a:cubicBezTo>
                  <a:cubicBezTo>
                    <a:pt x="309" y="110"/>
                    <a:pt x="310" y="111"/>
                    <a:pt x="310" y="112"/>
                  </a:cubicBezTo>
                  <a:cubicBezTo>
                    <a:pt x="312" y="119"/>
                    <a:pt x="314" y="126"/>
                    <a:pt x="314" y="133"/>
                  </a:cubicBezTo>
                  <a:cubicBezTo>
                    <a:pt x="316" y="144"/>
                    <a:pt x="316" y="155"/>
                    <a:pt x="315" y="166"/>
                  </a:cubicBezTo>
                </a:path>
              </a:pathLst>
            </a:custGeom>
            <a:solidFill>
              <a:srgbClr val="FFC7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9" name="îṣlíḓè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459288" y="1274763"/>
              <a:ext cx="771525" cy="931862"/>
            </a:xfrm>
            <a:custGeom>
              <a:avLst/>
              <a:gdLst>
                <a:gd name="T0" fmla="*/ 343 w 376"/>
                <a:gd name="T1" fmla="*/ 117 h 454"/>
                <a:gd name="T2" fmla="*/ 285 w 376"/>
                <a:gd name="T3" fmla="*/ 243 h 454"/>
                <a:gd name="T4" fmla="*/ 282 w 376"/>
                <a:gd name="T5" fmla="*/ 289 h 454"/>
                <a:gd name="T6" fmla="*/ 275 w 376"/>
                <a:gd name="T7" fmla="*/ 310 h 454"/>
                <a:gd name="T8" fmla="*/ 260 w 376"/>
                <a:gd name="T9" fmla="*/ 322 h 454"/>
                <a:gd name="T10" fmla="*/ 244 w 376"/>
                <a:gd name="T11" fmla="*/ 306 h 454"/>
                <a:gd name="T12" fmla="*/ 244 w 376"/>
                <a:gd name="T13" fmla="*/ 305 h 454"/>
                <a:gd name="T14" fmla="*/ 245 w 376"/>
                <a:gd name="T15" fmla="*/ 271 h 454"/>
                <a:gd name="T16" fmla="*/ 228 w 376"/>
                <a:gd name="T17" fmla="*/ 316 h 454"/>
                <a:gd name="T18" fmla="*/ 174 w 376"/>
                <a:gd name="T19" fmla="*/ 403 h 454"/>
                <a:gd name="T20" fmla="*/ 106 w 376"/>
                <a:gd name="T21" fmla="*/ 454 h 454"/>
                <a:gd name="T22" fmla="*/ 0 w 376"/>
                <a:gd name="T23" fmla="*/ 247 h 454"/>
                <a:gd name="T24" fmla="*/ 2 w 376"/>
                <a:gd name="T25" fmla="*/ 211 h 454"/>
                <a:gd name="T26" fmla="*/ 8 w 376"/>
                <a:gd name="T27" fmla="*/ 179 h 454"/>
                <a:gd name="T28" fmla="*/ 293 w 376"/>
                <a:gd name="T29" fmla="*/ 69 h 454"/>
                <a:gd name="T30" fmla="*/ 343 w 376"/>
                <a:gd name="T31" fmla="*/ 117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76" h="454">
                  <a:moveTo>
                    <a:pt x="343" y="117"/>
                  </a:moveTo>
                  <a:cubicBezTo>
                    <a:pt x="376" y="208"/>
                    <a:pt x="289" y="201"/>
                    <a:pt x="285" y="243"/>
                  </a:cubicBezTo>
                  <a:cubicBezTo>
                    <a:pt x="285" y="248"/>
                    <a:pt x="283" y="255"/>
                    <a:pt x="282" y="289"/>
                  </a:cubicBezTo>
                  <a:cubicBezTo>
                    <a:pt x="275" y="310"/>
                    <a:pt x="275" y="310"/>
                    <a:pt x="275" y="310"/>
                  </a:cubicBezTo>
                  <a:cubicBezTo>
                    <a:pt x="273" y="317"/>
                    <a:pt x="267" y="322"/>
                    <a:pt x="260" y="322"/>
                  </a:cubicBezTo>
                  <a:cubicBezTo>
                    <a:pt x="251" y="322"/>
                    <a:pt x="244" y="315"/>
                    <a:pt x="244" y="306"/>
                  </a:cubicBezTo>
                  <a:cubicBezTo>
                    <a:pt x="244" y="305"/>
                    <a:pt x="244" y="305"/>
                    <a:pt x="244" y="305"/>
                  </a:cubicBezTo>
                  <a:cubicBezTo>
                    <a:pt x="245" y="271"/>
                    <a:pt x="245" y="271"/>
                    <a:pt x="245" y="271"/>
                  </a:cubicBezTo>
                  <a:cubicBezTo>
                    <a:pt x="228" y="316"/>
                    <a:pt x="228" y="316"/>
                    <a:pt x="228" y="316"/>
                  </a:cubicBezTo>
                  <a:cubicBezTo>
                    <a:pt x="216" y="349"/>
                    <a:pt x="197" y="378"/>
                    <a:pt x="174" y="403"/>
                  </a:cubicBezTo>
                  <a:cubicBezTo>
                    <a:pt x="154" y="424"/>
                    <a:pt x="132" y="441"/>
                    <a:pt x="106" y="454"/>
                  </a:cubicBezTo>
                  <a:cubicBezTo>
                    <a:pt x="106" y="454"/>
                    <a:pt x="0" y="391"/>
                    <a:pt x="0" y="247"/>
                  </a:cubicBezTo>
                  <a:cubicBezTo>
                    <a:pt x="0" y="235"/>
                    <a:pt x="0" y="223"/>
                    <a:pt x="2" y="211"/>
                  </a:cubicBezTo>
                  <a:cubicBezTo>
                    <a:pt x="3" y="199"/>
                    <a:pt x="5" y="189"/>
                    <a:pt x="8" y="179"/>
                  </a:cubicBezTo>
                  <a:cubicBezTo>
                    <a:pt x="52" y="0"/>
                    <a:pt x="272" y="61"/>
                    <a:pt x="293" y="69"/>
                  </a:cubicBezTo>
                  <a:cubicBezTo>
                    <a:pt x="315" y="77"/>
                    <a:pt x="343" y="117"/>
                    <a:pt x="343" y="117"/>
                  </a:cubicBezTo>
                </a:path>
              </a:pathLst>
            </a:custGeom>
            <a:solidFill>
              <a:srgbClr val="7C4B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0" name="iṥlíḓ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257800" y="1881188"/>
              <a:ext cx="60325" cy="160337"/>
            </a:xfrm>
            <a:custGeom>
              <a:avLst/>
              <a:gdLst>
                <a:gd name="T0" fmla="*/ 30 w 30"/>
                <a:gd name="T1" fmla="*/ 58 h 78"/>
                <a:gd name="T2" fmla="*/ 30 w 30"/>
                <a:gd name="T3" fmla="*/ 60 h 78"/>
                <a:gd name="T4" fmla="*/ 0 w 30"/>
                <a:gd name="T5" fmla="*/ 77 h 78"/>
                <a:gd name="T6" fmla="*/ 3 w 30"/>
                <a:gd name="T7" fmla="*/ 0 h 78"/>
                <a:gd name="T8" fmla="*/ 30 w 30"/>
                <a:gd name="T9" fmla="*/ 5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78">
                  <a:moveTo>
                    <a:pt x="30" y="58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30" y="70"/>
                    <a:pt x="21" y="78"/>
                    <a:pt x="0" y="77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0" y="26"/>
                    <a:pt x="29" y="42"/>
                    <a:pt x="30" y="58"/>
                  </a:cubicBezTo>
                  <a:close/>
                </a:path>
              </a:pathLst>
            </a:custGeom>
            <a:solidFill>
              <a:srgbClr val="FFC7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1" name="ïṡ1iḋé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180013" y="1768475"/>
              <a:ext cx="136525" cy="41275"/>
            </a:xfrm>
            <a:custGeom>
              <a:avLst/>
              <a:gdLst>
                <a:gd name="T0" fmla="*/ 57 w 67"/>
                <a:gd name="T1" fmla="*/ 20 h 20"/>
                <a:gd name="T2" fmla="*/ 9 w 67"/>
                <a:gd name="T3" fmla="*/ 20 h 20"/>
                <a:gd name="T4" fmla="*/ 0 w 67"/>
                <a:gd name="T5" fmla="*/ 10 h 20"/>
                <a:gd name="T6" fmla="*/ 9 w 67"/>
                <a:gd name="T7" fmla="*/ 0 h 20"/>
                <a:gd name="T8" fmla="*/ 57 w 67"/>
                <a:gd name="T9" fmla="*/ 0 h 20"/>
                <a:gd name="T10" fmla="*/ 67 w 67"/>
                <a:gd name="T11" fmla="*/ 10 h 20"/>
                <a:gd name="T12" fmla="*/ 57 w 67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20">
                  <a:moveTo>
                    <a:pt x="57" y="20"/>
                  </a:moveTo>
                  <a:cubicBezTo>
                    <a:pt x="9" y="20"/>
                    <a:pt x="9" y="20"/>
                    <a:pt x="9" y="20"/>
                  </a:cubicBezTo>
                  <a:cubicBezTo>
                    <a:pt x="4" y="20"/>
                    <a:pt x="0" y="15"/>
                    <a:pt x="0" y="10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62" y="0"/>
                    <a:pt x="67" y="4"/>
                    <a:pt x="67" y="10"/>
                  </a:cubicBezTo>
                  <a:cubicBezTo>
                    <a:pt x="67" y="15"/>
                    <a:pt x="62" y="20"/>
                    <a:pt x="57" y="20"/>
                  </a:cubicBezTo>
                  <a:close/>
                </a:path>
              </a:pathLst>
            </a:custGeom>
            <a:solidFill>
              <a:srgbClr val="7C4B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2" name="išḷîdè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226050" y="1830388"/>
              <a:ext cx="28575" cy="50800"/>
            </a:xfrm>
            <a:custGeom>
              <a:avLst/>
              <a:gdLst>
                <a:gd name="T0" fmla="*/ 7 w 14"/>
                <a:gd name="T1" fmla="*/ 25 h 25"/>
                <a:gd name="T2" fmla="*/ 7 w 14"/>
                <a:gd name="T3" fmla="*/ 25 h 25"/>
                <a:gd name="T4" fmla="*/ 0 w 14"/>
                <a:gd name="T5" fmla="*/ 18 h 25"/>
                <a:gd name="T6" fmla="*/ 0 w 14"/>
                <a:gd name="T7" fmla="*/ 8 h 25"/>
                <a:gd name="T8" fmla="*/ 7 w 14"/>
                <a:gd name="T9" fmla="*/ 0 h 25"/>
                <a:gd name="T10" fmla="*/ 14 w 14"/>
                <a:gd name="T11" fmla="*/ 8 h 25"/>
                <a:gd name="T12" fmla="*/ 14 w 14"/>
                <a:gd name="T13" fmla="*/ 18 h 25"/>
                <a:gd name="T14" fmla="*/ 7 w 14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25">
                  <a:moveTo>
                    <a:pt x="7" y="25"/>
                  </a:moveTo>
                  <a:cubicBezTo>
                    <a:pt x="7" y="25"/>
                    <a:pt x="7" y="25"/>
                    <a:pt x="7" y="25"/>
                  </a:cubicBezTo>
                  <a:cubicBezTo>
                    <a:pt x="3" y="25"/>
                    <a:pt x="0" y="22"/>
                    <a:pt x="0" y="1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3" y="0"/>
                    <a:pt x="7" y="0"/>
                  </a:cubicBezTo>
                  <a:cubicBezTo>
                    <a:pt x="11" y="0"/>
                    <a:pt x="14" y="4"/>
                    <a:pt x="14" y="8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4" y="22"/>
                    <a:pt x="11" y="25"/>
                    <a:pt x="7" y="25"/>
                  </a:cubicBezTo>
                  <a:close/>
                </a:path>
              </a:pathLst>
            </a:custGeom>
            <a:solidFill>
              <a:srgbClr val="0813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3" name="íSľïḍe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459288" y="1641475"/>
              <a:ext cx="357188" cy="565150"/>
            </a:xfrm>
            <a:custGeom>
              <a:avLst/>
              <a:gdLst>
                <a:gd name="T0" fmla="*/ 8 w 174"/>
                <a:gd name="T1" fmla="*/ 0 h 275"/>
                <a:gd name="T2" fmla="*/ 8 w 174"/>
                <a:gd name="T3" fmla="*/ 0 h 275"/>
                <a:gd name="T4" fmla="*/ 2 w 174"/>
                <a:gd name="T5" fmla="*/ 32 h 275"/>
                <a:gd name="T6" fmla="*/ 0 w 174"/>
                <a:gd name="T7" fmla="*/ 68 h 275"/>
                <a:gd name="T8" fmla="*/ 106 w 174"/>
                <a:gd name="T9" fmla="*/ 275 h 275"/>
                <a:gd name="T10" fmla="*/ 174 w 174"/>
                <a:gd name="T11" fmla="*/ 224 h 275"/>
                <a:gd name="T12" fmla="*/ 56 w 174"/>
                <a:gd name="T13" fmla="*/ 121 h 275"/>
                <a:gd name="T14" fmla="*/ 8 w 174"/>
                <a:gd name="T15" fmla="*/ 0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4" h="275"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5" y="10"/>
                    <a:pt x="3" y="20"/>
                    <a:pt x="2" y="32"/>
                  </a:cubicBezTo>
                  <a:cubicBezTo>
                    <a:pt x="0" y="44"/>
                    <a:pt x="0" y="56"/>
                    <a:pt x="0" y="68"/>
                  </a:cubicBezTo>
                  <a:cubicBezTo>
                    <a:pt x="0" y="212"/>
                    <a:pt x="106" y="275"/>
                    <a:pt x="106" y="275"/>
                  </a:cubicBezTo>
                  <a:cubicBezTo>
                    <a:pt x="132" y="262"/>
                    <a:pt x="154" y="245"/>
                    <a:pt x="174" y="224"/>
                  </a:cubicBezTo>
                  <a:cubicBezTo>
                    <a:pt x="157" y="219"/>
                    <a:pt x="104" y="199"/>
                    <a:pt x="56" y="121"/>
                  </a:cubicBezTo>
                  <a:cubicBezTo>
                    <a:pt x="25" y="69"/>
                    <a:pt x="12" y="28"/>
                    <a:pt x="8" y="0"/>
                  </a:cubicBezTo>
                </a:path>
              </a:pathLst>
            </a:custGeom>
            <a:solidFill>
              <a:srgbClr val="6540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4" name="íṡ1îďé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919663" y="1811338"/>
              <a:ext cx="338138" cy="519112"/>
            </a:xfrm>
            <a:custGeom>
              <a:avLst/>
              <a:gdLst>
                <a:gd name="T0" fmla="*/ 165 w 165"/>
                <a:gd name="T1" fmla="*/ 135 h 253"/>
                <a:gd name="T2" fmla="*/ 163 w 165"/>
                <a:gd name="T3" fmla="*/ 189 h 253"/>
                <a:gd name="T4" fmla="*/ 68 w 165"/>
                <a:gd name="T5" fmla="*/ 249 h 253"/>
                <a:gd name="T6" fmla="*/ 4 w 165"/>
                <a:gd name="T7" fmla="*/ 242 h 253"/>
                <a:gd name="T8" fmla="*/ 11 w 165"/>
                <a:gd name="T9" fmla="*/ 186 h 253"/>
                <a:gd name="T10" fmla="*/ 28 w 165"/>
                <a:gd name="T11" fmla="*/ 80 h 253"/>
                <a:gd name="T12" fmla="*/ 0 w 165"/>
                <a:gd name="T13" fmla="*/ 0 h 253"/>
                <a:gd name="T14" fmla="*/ 58 w 165"/>
                <a:gd name="T15" fmla="*/ 24 h 253"/>
                <a:gd name="T16" fmla="*/ 58 w 165"/>
                <a:gd name="T17" fmla="*/ 24 h 253"/>
                <a:gd name="T18" fmla="*/ 163 w 165"/>
                <a:gd name="T19" fmla="*/ 136 h 253"/>
                <a:gd name="T20" fmla="*/ 165 w 165"/>
                <a:gd name="T21" fmla="*/ 135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5" h="253">
                  <a:moveTo>
                    <a:pt x="165" y="135"/>
                  </a:moveTo>
                  <a:cubicBezTo>
                    <a:pt x="163" y="189"/>
                    <a:pt x="163" y="189"/>
                    <a:pt x="163" y="189"/>
                  </a:cubicBezTo>
                  <a:cubicBezTo>
                    <a:pt x="163" y="235"/>
                    <a:pt x="109" y="253"/>
                    <a:pt x="68" y="249"/>
                  </a:cubicBezTo>
                  <a:cubicBezTo>
                    <a:pt x="4" y="242"/>
                    <a:pt x="4" y="242"/>
                    <a:pt x="4" y="242"/>
                  </a:cubicBezTo>
                  <a:cubicBezTo>
                    <a:pt x="11" y="186"/>
                    <a:pt x="11" y="186"/>
                    <a:pt x="11" y="186"/>
                  </a:cubicBezTo>
                  <a:cubicBezTo>
                    <a:pt x="28" y="80"/>
                    <a:pt x="28" y="80"/>
                    <a:pt x="28" y="8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8" y="24"/>
                    <a:pt x="58" y="24"/>
                    <a:pt x="58" y="24"/>
                  </a:cubicBezTo>
                  <a:cubicBezTo>
                    <a:pt x="58" y="24"/>
                    <a:pt x="58" y="24"/>
                    <a:pt x="58" y="24"/>
                  </a:cubicBezTo>
                  <a:cubicBezTo>
                    <a:pt x="54" y="88"/>
                    <a:pt x="99" y="139"/>
                    <a:pt x="163" y="136"/>
                  </a:cubicBezTo>
                  <a:lnTo>
                    <a:pt x="165" y="135"/>
                  </a:lnTo>
                  <a:close/>
                </a:path>
              </a:pathLst>
            </a:custGeom>
            <a:solidFill>
              <a:srgbClr val="7C4B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5" name="ïś1iḓe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857750" y="1808163"/>
              <a:ext cx="119063" cy="177800"/>
            </a:xfrm>
            <a:custGeom>
              <a:avLst/>
              <a:gdLst>
                <a:gd name="T0" fmla="*/ 47 w 58"/>
                <a:gd name="T1" fmla="*/ 0 h 87"/>
                <a:gd name="T2" fmla="*/ 58 w 58"/>
                <a:gd name="T3" fmla="*/ 12 h 87"/>
                <a:gd name="T4" fmla="*/ 58 w 58"/>
                <a:gd name="T5" fmla="*/ 52 h 87"/>
                <a:gd name="T6" fmla="*/ 58 w 58"/>
                <a:gd name="T7" fmla="*/ 87 h 87"/>
                <a:gd name="T8" fmla="*/ 44 w 58"/>
                <a:gd name="T9" fmla="*/ 87 h 87"/>
                <a:gd name="T10" fmla="*/ 41 w 58"/>
                <a:gd name="T11" fmla="*/ 87 h 87"/>
                <a:gd name="T12" fmla="*/ 0 w 58"/>
                <a:gd name="T13" fmla="*/ 42 h 87"/>
                <a:gd name="T14" fmla="*/ 13 w 58"/>
                <a:gd name="T15" fmla="*/ 12 h 87"/>
                <a:gd name="T16" fmla="*/ 41 w 58"/>
                <a:gd name="T17" fmla="*/ 0 h 87"/>
                <a:gd name="T18" fmla="*/ 41 w 58"/>
                <a:gd name="T19" fmla="*/ 0 h 87"/>
                <a:gd name="T20" fmla="*/ 44 w 58"/>
                <a:gd name="T21" fmla="*/ 0 h 87"/>
                <a:gd name="T22" fmla="*/ 47 w 58"/>
                <a:gd name="T23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8" h="87">
                  <a:moveTo>
                    <a:pt x="47" y="0"/>
                  </a:moveTo>
                  <a:cubicBezTo>
                    <a:pt x="53" y="0"/>
                    <a:pt x="58" y="5"/>
                    <a:pt x="58" y="12"/>
                  </a:cubicBezTo>
                  <a:cubicBezTo>
                    <a:pt x="58" y="52"/>
                    <a:pt x="58" y="52"/>
                    <a:pt x="58" y="52"/>
                  </a:cubicBezTo>
                  <a:cubicBezTo>
                    <a:pt x="58" y="87"/>
                    <a:pt x="58" y="87"/>
                    <a:pt x="58" y="87"/>
                  </a:cubicBezTo>
                  <a:cubicBezTo>
                    <a:pt x="44" y="87"/>
                    <a:pt x="44" y="87"/>
                    <a:pt x="44" y="87"/>
                  </a:cubicBezTo>
                  <a:cubicBezTo>
                    <a:pt x="43" y="87"/>
                    <a:pt x="42" y="87"/>
                    <a:pt x="41" y="87"/>
                  </a:cubicBezTo>
                  <a:cubicBezTo>
                    <a:pt x="18" y="85"/>
                    <a:pt x="0" y="65"/>
                    <a:pt x="0" y="42"/>
                  </a:cubicBezTo>
                  <a:cubicBezTo>
                    <a:pt x="0" y="30"/>
                    <a:pt x="5" y="20"/>
                    <a:pt x="13" y="12"/>
                  </a:cubicBezTo>
                  <a:cubicBezTo>
                    <a:pt x="20" y="5"/>
                    <a:pt x="30" y="1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2" y="0"/>
                    <a:pt x="43" y="0"/>
                    <a:pt x="44" y="0"/>
                  </a:cubicBezTo>
                  <a:lnTo>
                    <a:pt x="47" y="0"/>
                  </a:lnTo>
                  <a:close/>
                </a:path>
              </a:pathLst>
            </a:custGeom>
            <a:solidFill>
              <a:srgbClr val="FCBB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6" name="ïṩliḑè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105275" y="4213225"/>
              <a:ext cx="758825" cy="139700"/>
            </a:xfrm>
            <a:prstGeom prst="rect">
              <a:avLst/>
            </a:prstGeom>
            <a:solidFill>
              <a:srgbClr val="0813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7" name="îṧ1îḋ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3846513" y="5519738"/>
              <a:ext cx="0" cy="53975"/>
            </a:xfrm>
            <a:custGeom>
              <a:avLst/>
              <a:gdLst>
                <a:gd name="T0" fmla="*/ 0 h 34"/>
                <a:gd name="T1" fmla="*/ 34 h 34"/>
                <a:gd name="T2" fmla="*/ 0 h 3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4">
                  <a:moveTo>
                    <a:pt x="0" y="0"/>
                  </a:moveTo>
                  <a:lnTo>
                    <a:pt x="0" y="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13D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8" name="ïşļïďé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3846513" y="5519738"/>
              <a:ext cx="0" cy="53975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9" name="ï$1iďè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008813" y="4225925"/>
              <a:ext cx="696913" cy="139700"/>
            </a:xfrm>
            <a:prstGeom prst="rect">
              <a:avLst/>
            </a:prstGeom>
            <a:solidFill>
              <a:srgbClr val="716F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0" name="î$ļíḋ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593013" y="3748088"/>
              <a:ext cx="157163" cy="1973262"/>
            </a:xfrm>
            <a:prstGeom prst="rect">
              <a:avLst/>
            </a:prstGeom>
            <a:solidFill>
              <a:srgbClr val="716F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1" name="íş1îḑé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956425" y="3738563"/>
              <a:ext cx="158750" cy="1982787"/>
            </a:xfrm>
            <a:prstGeom prst="rect">
              <a:avLst/>
            </a:prstGeom>
            <a:solidFill>
              <a:srgbClr val="B1AE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2" name="iśľiḍé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956425" y="3657600"/>
              <a:ext cx="158750" cy="846137"/>
            </a:xfrm>
            <a:prstGeom prst="rect">
              <a:avLst/>
            </a:prstGeom>
            <a:solidFill>
              <a:srgbClr val="716F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3" name="iṧ1iḑ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3214688" y="4225925"/>
              <a:ext cx="695325" cy="139700"/>
            </a:xfrm>
            <a:prstGeom prst="rect">
              <a:avLst/>
            </a:prstGeom>
            <a:solidFill>
              <a:srgbClr val="716F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4" name="iSlíḋé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3797300" y="3748088"/>
              <a:ext cx="160338" cy="1973262"/>
            </a:xfrm>
            <a:prstGeom prst="rect">
              <a:avLst/>
            </a:prstGeom>
            <a:solidFill>
              <a:srgbClr val="716F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5" name="ïšľïḍè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3162300" y="3738563"/>
              <a:ext cx="160338" cy="1982787"/>
            </a:xfrm>
            <a:prstGeom prst="rect">
              <a:avLst/>
            </a:prstGeom>
            <a:solidFill>
              <a:srgbClr val="716F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6" name="îsļidè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089650" y="2422525"/>
              <a:ext cx="522288" cy="1123950"/>
            </a:xfrm>
            <a:prstGeom prst="rect">
              <a:avLst/>
            </a:prstGeom>
            <a:solidFill>
              <a:srgbClr val="5856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7" name="ïśliḑé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089650" y="2422525"/>
              <a:ext cx="522288" cy="1123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8" name="iŝḻîďe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451475" y="2060575"/>
              <a:ext cx="1716088" cy="1117600"/>
            </a:xfrm>
            <a:custGeom>
              <a:avLst/>
              <a:gdLst>
                <a:gd name="T0" fmla="*/ 837 w 837"/>
                <a:gd name="T1" fmla="*/ 545 h 545"/>
                <a:gd name="T2" fmla="*/ 0 w 837"/>
                <a:gd name="T3" fmla="*/ 545 h 545"/>
                <a:gd name="T4" fmla="*/ 0 w 837"/>
                <a:gd name="T5" fmla="*/ 34 h 545"/>
                <a:gd name="T6" fmla="*/ 33 w 837"/>
                <a:gd name="T7" fmla="*/ 0 h 545"/>
                <a:gd name="T8" fmla="*/ 803 w 837"/>
                <a:gd name="T9" fmla="*/ 0 h 545"/>
                <a:gd name="T10" fmla="*/ 837 w 837"/>
                <a:gd name="T11" fmla="*/ 34 h 545"/>
                <a:gd name="T12" fmla="*/ 837 w 837"/>
                <a:gd name="T13" fmla="*/ 545 h 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7" h="545">
                  <a:moveTo>
                    <a:pt x="837" y="545"/>
                  </a:moveTo>
                  <a:cubicBezTo>
                    <a:pt x="0" y="545"/>
                    <a:pt x="0" y="545"/>
                    <a:pt x="0" y="54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15" y="0"/>
                    <a:pt x="33" y="0"/>
                  </a:cubicBezTo>
                  <a:cubicBezTo>
                    <a:pt x="803" y="0"/>
                    <a:pt x="803" y="0"/>
                    <a:pt x="803" y="0"/>
                  </a:cubicBezTo>
                  <a:cubicBezTo>
                    <a:pt x="822" y="0"/>
                    <a:pt x="837" y="15"/>
                    <a:pt x="837" y="34"/>
                  </a:cubicBezTo>
                  <a:cubicBezTo>
                    <a:pt x="837" y="545"/>
                    <a:pt x="837" y="545"/>
                    <a:pt x="837" y="545"/>
                  </a:cubicBezTo>
                </a:path>
              </a:pathLst>
            </a:custGeom>
            <a:solidFill>
              <a:srgbClr val="DDD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9" name="íṣļîḋè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435600" y="3148013"/>
              <a:ext cx="1716088" cy="198437"/>
            </a:xfrm>
            <a:custGeom>
              <a:avLst/>
              <a:gdLst>
                <a:gd name="T0" fmla="*/ 766 w 837"/>
                <a:gd name="T1" fmla="*/ 97 h 97"/>
                <a:gd name="T2" fmla="*/ 70 w 837"/>
                <a:gd name="T3" fmla="*/ 97 h 97"/>
                <a:gd name="T4" fmla="*/ 0 w 837"/>
                <a:gd name="T5" fmla="*/ 27 h 97"/>
                <a:gd name="T6" fmla="*/ 0 w 837"/>
                <a:gd name="T7" fmla="*/ 0 h 97"/>
                <a:gd name="T8" fmla="*/ 837 w 837"/>
                <a:gd name="T9" fmla="*/ 0 h 97"/>
                <a:gd name="T10" fmla="*/ 837 w 837"/>
                <a:gd name="T11" fmla="*/ 27 h 97"/>
                <a:gd name="T12" fmla="*/ 766 w 837"/>
                <a:gd name="T13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7" h="97">
                  <a:moveTo>
                    <a:pt x="766" y="97"/>
                  </a:moveTo>
                  <a:cubicBezTo>
                    <a:pt x="70" y="97"/>
                    <a:pt x="70" y="97"/>
                    <a:pt x="70" y="97"/>
                  </a:cubicBezTo>
                  <a:cubicBezTo>
                    <a:pt x="31" y="97"/>
                    <a:pt x="0" y="66"/>
                    <a:pt x="0" y="2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37" y="0"/>
                    <a:pt x="837" y="0"/>
                    <a:pt x="837" y="0"/>
                  </a:cubicBezTo>
                  <a:cubicBezTo>
                    <a:pt x="837" y="27"/>
                    <a:pt x="837" y="27"/>
                    <a:pt x="837" y="27"/>
                  </a:cubicBezTo>
                  <a:cubicBezTo>
                    <a:pt x="837" y="66"/>
                    <a:pt x="805" y="97"/>
                    <a:pt x="766" y="97"/>
                  </a:cubicBezTo>
                </a:path>
              </a:pathLst>
            </a:custGeom>
            <a:solidFill>
              <a:srgbClr val="DDD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0" name="îSļíḓ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392738" y="2060575"/>
              <a:ext cx="1716088" cy="1117600"/>
            </a:xfrm>
            <a:custGeom>
              <a:avLst/>
              <a:gdLst>
                <a:gd name="T0" fmla="*/ 837 w 837"/>
                <a:gd name="T1" fmla="*/ 34 h 545"/>
                <a:gd name="T2" fmla="*/ 837 w 837"/>
                <a:gd name="T3" fmla="*/ 545 h 545"/>
                <a:gd name="T4" fmla="*/ 0 w 837"/>
                <a:gd name="T5" fmla="*/ 545 h 545"/>
                <a:gd name="T6" fmla="*/ 0 w 837"/>
                <a:gd name="T7" fmla="*/ 34 h 545"/>
                <a:gd name="T8" fmla="*/ 33 w 837"/>
                <a:gd name="T9" fmla="*/ 0 h 545"/>
                <a:gd name="T10" fmla="*/ 804 w 837"/>
                <a:gd name="T11" fmla="*/ 0 h 545"/>
                <a:gd name="T12" fmla="*/ 837 w 837"/>
                <a:gd name="T13" fmla="*/ 34 h 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7" h="545">
                  <a:moveTo>
                    <a:pt x="837" y="34"/>
                  </a:moveTo>
                  <a:cubicBezTo>
                    <a:pt x="837" y="545"/>
                    <a:pt x="837" y="545"/>
                    <a:pt x="837" y="545"/>
                  </a:cubicBezTo>
                  <a:cubicBezTo>
                    <a:pt x="0" y="545"/>
                    <a:pt x="0" y="545"/>
                    <a:pt x="0" y="54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15" y="0"/>
                    <a:pt x="33" y="0"/>
                  </a:cubicBezTo>
                  <a:cubicBezTo>
                    <a:pt x="804" y="0"/>
                    <a:pt x="804" y="0"/>
                    <a:pt x="804" y="0"/>
                  </a:cubicBezTo>
                  <a:cubicBezTo>
                    <a:pt x="822" y="0"/>
                    <a:pt x="837" y="15"/>
                    <a:pt x="837" y="34"/>
                  </a:cubicBezTo>
                </a:path>
              </a:pathLst>
            </a:custGeom>
            <a:solidFill>
              <a:srgbClr val="7676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1" name="isḻiḍe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454650" y="2122488"/>
              <a:ext cx="1590675" cy="965200"/>
            </a:xfrm>
            <a:custGeom>
              <a:avLst/>
              <a:gdLst>
                <a:gd name="T0" fmla="*/ 776 w 776"/>
                <a:gd name="T1" fmla="*/ 3 h 471"/>
                <a:gd name="T2" fmla="*/ 776 w 776"/>
                <a:gd name="T3" fmla="*/ 468 h 471"/>
                <a:gd name="T4" fmla="*/ 773 w 776"/>
                <a:gd name="T5" fmla="*/ 471 h 471"/>
                <a:gd name="T6" fmla="*/ 3 w 776"/>
                <a:gd name="T7" fmla="*/ 471 h 471"/>
                <a:gd name="T8" fmla="*/ 0 w 776"/>
                <a:gd name="T9" fmla="*/ 468 h 471"/>
                <a:gd name="T10" fmla="*/ 0 w 776"/>
                <a:gd name="T11" fmla="*/ 3 h 471"/>
                <a:gd name="T12" fmla="*/ 3 w 776"/>
                <a:gd name="T13" fmla="*/ 0 h 471"/>
                <a:gd name="T14" fmla="*/ 773 w 776"/>
                <a:gd name="T15" fmla="*/ 0 h 471"/>
                <a:gd name="T16" fmla="*/ 776 w 776"/>
                <a:gd name="T17" fmla="*/ 3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76" h="471">
                  <a:moveTo>
                    <a:pt x="776" y="3"/>
                  </a:moveTo>
                  <a:cubicBezTo>
                    <a:pt x="776" y="468"/>
                    <a:pt x="776" y="468"/>
                    <a:pt x="776" y="468"/>
                  </a:cubicBezTo>
                  <a:cubicBezTo>
                    <a:pt x="776" y="470"/>
                    <a:pt x="775" y="471"/>
                    <a:pt x="773" y="471"/>
                  </a:cubicBezTo>
                  <a:cubicBezTo>
                    <a:pt x="3" y="471"/>
                    <a:pt x="3" y="471"/>
                    <a:pt x="3" y="471"/>
                  </a:cubicBezTo>
                  <a:cubicBezTo>
                    <a:pt x="2" y="471"/>
                    <a:pt x="0" y="470"/>
                    <a:pt x="0" y="46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773" y="0"/>
                    <a:pt x="773" y="0"/>
                    <a:pt x="773" y="0"/>
                  </a:cubicBezTo>
                  <a:cubicBezTo>
                    <a:pt x="775" y="0"/>
                    <a:pt x="776" y="1"/>
                    <a:pt x="776" y="3"/>
                  </a:cubicBezTo>
                </a:path>
              </a:pathLst>
            </a:custGeom>
            <a:solidFill>
              <a:srgbClr val="1F34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2" name="isḷîḋè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392738" y="3148013"/>
              <a:ext cx="1716088" cy="198437"/>
            </a:xfrm>
            <a:custGeom>
              <a:avLst/>
              <a:gdLst>
                <a:gd name="T0" fmla="*/ 837 w 837"/>
                <a:gd name="T1" fmla="*/ 0 h 97"/>
                <a:gd name="T2" fmla="*/ 837 w 837"/>
                <a:gd name="T3" fmla="*/ 27 h 97"/>
                <a:gd name="T4" fmla="*/ 796 w 837"/>
                <a:gd name="T5" fmla="*/ 91 h 97"/>
                <a:gd name="T6" fmla="*/ 766 w 837"/>
                <a:gd name="T7" fmla="*/ 97 h 97"/>
                <a:gd name="T8" fmla="*/ 70 w 837"/>
                <a:gd name="T9" fmla="*/ 97 h 97"/>
                <a:gd name="T10" fmla="*/ 0 w 837"/>
                <a:gd name="T11" fmla="*/ 27 h 97"/>
                <a:gd name="T12" fmla="*/ 0 w 837"/>
                <a:gd name="T13" fmla="*/ 0 h 97"/>
                <a:gd name="T14" fmla="*/ 837 w 837"/>
                <a:gd name="T15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37" h="97">
                  <a:moveTo>
                    <a:pt x="837" y="0"/>
                  </a:moveTo>
                  <a:cubicBezTo>
                    <a:pt x="837" y="27"/>
                    <a:pt x="837" y="27"/>
                    <a:pt x="837" y="27"/>
                  </a:cubicBezTo>
                  <a:cubicBezTo>
                    <a:pt x="837" y="55"/>
                    <a:pt x="820" y="79"/>
                    <a:pt x="796" y="91"/>
                  </a:cubicBezTo>
                  <a:cubicBezTo>
                    <a:pt x="787" y="95"/>
                    <a:pt x="777" y="97"/>
                    <a:pt x="766" y="97"/>
                  </a:cubicBezTo>
                  <a:cubicBezTo>
                    <a:pt x="70" y="97"/>
                    <a:pt x="70" y="97"/>
                    <a:pt x="70" y="97"/>
                  </a:cubicBezTo>
                  <a:cubicBezTo>
                    <a:pt x="31" y="97"/>
                    <a:pt x="0" y="66"/>
                    <a:pt x="0" y="2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37" y="0"/>
                    <a:pt x="837" y="0"/>
                    <a:pt x="837" y="0"/>
                  </a:cubicBezTo>
                </a:path>
              </a:pathLst>
            </a:custGeom>
            <a:solidFill>
              <a:srgbClr val="ABA9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3" name="îSľîḋé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546725" y="2238375"/>
              <a:ext cx="533400" cy="19050"/>
            </a:xfrm>
            <a:prstGeom prst="rect">
              <a:avLst/>
            </a:prstGeom>
            <a:solidFill>
              <a:srgbClr val="6E89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4" name="ïśḻíḓé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310313" y="2238375"/>
              <a:ext cx="252413" cy="19050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5" name="ïsḷíḍe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675438" y="2238375"/>
              <a:ext cx="252413" cy="19050"/>
            </a:xfrm>
            <a:prstGeom prst="rect">
              <a:avLst/>
            </a:prstGeom>
            <a:solidFill>
              <a:srgbClr val="FFC5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6" name="îṩľîďé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584950" y="2238375"/>
              <a:ext cx="60325" cy="19050"/>
            </a:xfrm>
            <a:prstGeom prst="rect">
              <a:avLst/>
            </a:prstGeom>
            <a:solidFill>
              <a:srgbClr val="6E89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7" name="îslîḑ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103938" y="2238375"/>
              <a:ext cx="177800" cy="19050"/>
            </a:xfrm>
            <a:prstGeom prst="rect">
              <a:avLst/>
            </a:prstGeom>
            <a:solidFill>
              <a:srgbClr val="EA54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8" name="îṣľiďè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546725" y="2713038"/>
              <a:ext cx="533400" cy="17462"/>
            </a:xfrm>
            <a:prstGeom prst="rect">
              <a:avLst/>
            </a:prstGeom>
            <a:solidFill>
              <a:srgbClr val="6E89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9" name="ïSḷiḑé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310313" y="2713038"/>
              <a:ext cx="252413" cy="17462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0" name="ïṧľíḍè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675438" y="2713038"/>
              <a:ext cx="252413" cy="17462"/>
            </a:xfrm>
            <a:prstGeom prst="rect">
              <a:avLst/>
            </a:prstGeom>
            <a:solidFill>
              <a:srgbClr val="FFC5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1" name="íṧḷîď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584950" y="2713038"/>
              <a:ext cx="60325" cy="17462"/>
            </a:xfrm>
            <a:prstGeom prst="rect">
              <a:avLst/>
            </a:prstGeom>
            <a:solidFill>
              <a:srgbClr val="6E89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2" name="ïs1ïďe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103938" y="2713038"/>
              <a:ext cx="177800" cy="17462"/>
            </a:xfrm>
            <a:prstGeom prst="rect">
              <a:avLst/>
            </a:prstGeom>
            <a:solidFill>
              <a:srgbClr val="A29F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3" name="í$ḷiḓe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394450" y="2554288"/>
              <a:ext cx="533400" cy="19050"/>
            </a:xfrm>
            <a:prstGeom prst="rect">
              <a:avLst/>
            </a:prstGeom>
            <a:solidFill>
              <a:srgbClr val="6E89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4" name="íṥ1îḍè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911850" y="2554288"/>
              <a:ext cx="250825" cy="19050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5" name="íṣḷïḑe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546725" y="2554288"/>
              <a:ext cx="252413" cy="19050"/>
            </a:xfrm>
            <a:prstGeom prst="rect">
              <a:avLst/>
            </a:prstGeom>
            <a:solidFill>
              <a:srgbClr val="FFC5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6" name="iṡḷïḋ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829300" y="2554288"/>
              <a:ext cx="58738" cy="19050"/>
            </a:xfrm>
            <a:prstGeom prst="rect">
              <a:avLst/>
            </a:prstGeom>
            <a:solidFill>
              <a:srgbClr val="6E89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7" name="işḷîḋ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192838" y="2554288"/>
              <a:ext cx="177800" cy="19050"/>
            </a:xfrm>
            <a:prstGeom prst="rect">
              <a:avLst/>
            </a:prstGeom>
            <a:solidFill>
              <a:srgbClr val="A29F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8" name="is1îḓè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546725" y="2319338"/>
              <a:ext cx="200025" cy="17462"/>
            </a:xfrm>
            <a:prstGeom prst="rect">
              <a:avLst/>
            </a:prstGeom>
            <a:solidFill>
              <a:srgbClr val="EA54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9" name="îṧ1íď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145213" y="2319338"/>
              <a:ext cx="85725" cy="17462"/>
            </a:xfrm>
            <a:prstGeom prst="rect">
              <a:avLst/>
            </a:prstGeom>
            <a:solidFill>
              <a:srgbClr val="6E89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0" name="išľíḋè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510338" y="2319338"/>
              <a:ext cx="417513" cy="17462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1" name="ïşľïḓé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253163" y="2319338"/>
              <a:ext cx="225425" cy="17462"/>
            </a:xfrm>
            <a:prstGeom prst="rect">
              <a:avLst/>
            </a:prstGeom>
            <a:solidFill>
              <a:srgbClr val="6E89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2" name="íś1ïď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772150" y="2319338"/>
              <a:ext cx="341313" cy="17462"/>
            </a:xfrm>
            <a:prstGeom prst="rect">
              <a:avLst/>
            </a:prstGeom>
            <a:solidFill>
              <a:srgbClr val="6E89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3" name="íŝliḍè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546725" y="2790825"/>
              <a:ext cx="200025" cy="17462"/>
            </a:xfrm>
            <a:prstGeom prst="rect">
              <a:avLst/>
            </a:prstGeom>
            <a:solidFill>
              <a:srgbClr val="6E89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4" name="íṣḷíḋ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145213" y="2790825"/>
              <a:ext cx="85725" cy="17462"/>
            </a:xfrm>
            <a:prstGeom prst="rect">
              <a:avLst/>
            </a:prstGeom>
            <a:solidFill>
              <a:srgbClr val="6E89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5" name="iṧľïḓè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510338" y="2790825"/>
              <a:ext cx="417513" cy="17462"/>
            </a:xfrm>
            <a:prstGeom prst="rect">
              <a:avLst/>
            </a:prstGeom>
            <a:solidFill>
              <a:srgbClr val="6E89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6" name="íŝḷíḑè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253163" y="2790825"/>
              <a:ext cx="225425" cy="17462"/>
            </a:xfrm>
            <a:prstGeom prst="rect">
              <a:avLst/>
            </a:prstGeom>
            <a:solidFill>
              <a:srgbClr val="6E89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7" name="í$ľîḋé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772150" y="2790825"/>
              <a:ext cx="341313" cy="17462"/>
            </a:xfrm>
            <a:prstGeom prst="rect">
              <a:avLst/>
            </a:prstGeom>
            <a:solidFill>
              <a:srgbClr val="6E89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8" name="íŝḷiďe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546725" y="2632075"/>
              <a:ext cx="200025" cy="19050"/>
            </a:xfrm>
            <a:prstGeom prst="rect">
              <a:avLst/>
            </a:prstGeom>
            <a:solidFill>
              <a:srgbClr val="EA54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9" name="îşļidé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145213" y="2632075"/>
              <a:ext cx="85725" cy="19050"/>
            </a:xfrm>
            <a:prstGeom prst="rect">
              <a:avLst/>
            </a:prstGeom>
            <a:solidFill>
              <a:srgbClr val="6E89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0" name="íṥḷîď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510338" y="2632075"/>
              <a:ext cx="417513" cy="19050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1" name="iṩľîḑè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253163" y="2632075"/>
              <a:ext cx="225425" cy="19050"/>
            </a:xfrm>
            <a:prstGeom prst="rect">
              <a:avLst/>
            </a:prstGeom>
            <a:solidFill>
              <a:srgbClr val="6E89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2" name="iş1ïḓe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772150" y="2632075"/>
              <a:ext cx="341313" cy="19050"/>
            </a:xfrm>
            <a:prstGeom prst="rect">
              <a:avLst/>
            </a:prstGeom>
            <a:solidFill>
              <a:srgbClr val="6E89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3" name="ïṧľíďè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546725" y="2397125"/>
              <a:ext cx="200025" cy="17462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4" name="išḷiḍ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772150" y="2397125"/>
              <a:ext cx="341313" cy="17462"/>
            </a:xfrm>
            <a:prstGeom prst="rect">
              <a:avLst/>
            </a:prstGeom>
            <a:solidFill>
              <a:srgbClr val="6E89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5" name="ï$ļiďe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915025" y="2474913"/>
              <a:ext cx="198438" cy="17462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6" name="îšlîḍ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546725" y="2474913"/>
              <a:ext cx="344488" cy="17462"/>
            </a:xfrm>
            <a:prstGeom prst="rect">
              <a:avLst/>
            </a:prstGeom>
            <a:solidFill>
              <a:srgbClr val="6E89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7" name="iŝ1îde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862638" y="3500438"/>
              <a:ext cx="776288" cy="77787"/>
            </a:xfrm>
            <a:custGeom>
              <a:avLst/>
              <a:gdLst>
                <a:gd name="T0" fmla="*/ 360 w 379"/>
                <a:gd name="T1" fmla="*/ 38 h 38"/>
                <a:gd name="T2" fmla="*/ 19 w 379"/>
                <a:gd name="T3" fmla="*/ 38 h 38"/>
                <a:gd name="T4" fmla="*/ 0 w 379"/>
                <a:gd name="T5" fmla="*/ 19 h 38"/>
                <a:gd name="T6" fmla="*/ 19 w 379"/>
                <a:gd name="T7" fmla="*/ 0 h 38"/>
                <a:gd name="T8" fmla="*/ 360 w 379"/>
                <a:gd name="T9" fmla="*/ 0 h 38"/>
                <a:gd name="T10" fmla="*/ 379 w 379"/>
                <a:gd name="T11" fmla="*/ 19 h 38"/>
                <a:gd name="T12" fmla="*/ 360 w 379"/>
                <a:gd name="T13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9" h="38">
                  <a:moveTo>
                    <a:pt x="360" y="38"/>
                  </a:moveTo>
                  <a:cubicBezTo>
                    <a:pt x="19" y="38"/>
                    <a:pt x="19" y="38"/>
                    <a:pt x="19" y="38"/>
                  </a:cubicBezTo>
                  <a:cubicBezTo>
                    <a:pt x="8" y="38"/>
                    <a:pt x="0" y="29"/>
                    <a:pt x="0" y="19"/>
                  </a:cubicBezTo>
                  <a:cubicBezTo>
                    <a:pt x="0" y="8"/>
                    <a:pt x="8" y="0"/>
                    <a:pt x="19" y="0"/>
                  </a:cubicBezTo>
                  <a:cubicBezTo>
                    <a:pt x="360" y="0"/>
                    <a:pt x="360" y="0"/>
                    <a:pt x="360" y="0"/>
                  </a:cubicBezTo>
                  <a:cubicBezTo>
                    <a:pt x="371" y="0"/>
                    <a:pt x="379" y="8"/>
                    <a:pt x="379" y="19"/>
                  </a:cubicBezTo>
                  <a:cubicBezTo>
                    <a:pt x="379" y="29"/>
                    <a:pt x="371" y="38"/>
                    <a:pt x="360" y="38"/>
                  </a:cubicBezTo>
                  <a:close/>
                </a:path>
              </a:pathLst>
            </a:custGeom>
            <a:solidFill>
              <a:srgbClr val="4A4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8" name="iŝlíḋè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680075" y="3570288"/>
              <a:ext cx="2205038" cy="177800"/>
            </a:xfrm>
            <a:custGeom>
              <a:avLst/>
              <a:gdLst>
                <a:gd name="T0" fmla="*/ 1076 w 1076"/>
                <a:gd name="T1" fmla="*/ 87 h 87"/>
                <a:gd name="T2" fmla="*/ 0 w 1076"/>
                <a:gd name="T3" fmla="*/ 87 h 87"/>
                <a:gd name="T4" fmla="*/ 0 w 1076"/>
                <a:gd name="T5" fmla="*/ 31 h 87"/>
                <a:gd name="T6" fmla="*/ 30 w 1076"/>
                <a:gd name="T7" fmla="*/ 0 h 87"/>
                <a:gd name="T8" fmla="*/ 1046 w 1076"/>
                <a:gd name="T9" fmla="*/ 0 h 87"/>
                <a:gd name="T10" fmla="*/ 1076 w 1076"/>
                <a:gd name="T11" fmla="*/ 31 h 87"/>
                <a:gd name="T12" fmla="*/ 1076 w 1076"/>
                <a:gd name="T13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6" h="87">
                  <a:moveTo>
                    <a:pt x="1076" y="87"/>
                  </a:moveTo>
                  <a:cubicBezTo>
                    <a:pt x="0" y="87"/>
                    <a:pt x="0" y="87"/>
                    <a:pt x="0" y="87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14"/>
                    <a:pt x="13" y="0"/>
                    <a:pt x="30" y="0"/>
                  </a:cubicBezTo>
                  <a:cubicBezTo>
                    <a:pt x="1046" y="0"/>
                    <a:pt x="1046" y="0"/>
                    <a:pt x="1046" y="0"/>
                  </a:cubicBezTo>
                  <a:cubicBezTo>
                    <a:pt x="1062" y="0"/>
                    <a:pt x="1076" y="14"/>
                    <a:pt x="1076" y="31"/>
                  </a:cubicBezTo>
                  <a:lnTo>
                    <a:pt x="1076" y="87"/>
                  </a:lnTo>
                  <a:close/>
                </a:path>
              </a:pathLst>
            </a:custGeom>
            <a:solidFill>
              <a:srgbClr val="E792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9" name="í$ļíḑe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2994025" y="3570288"/>
              <a:ext cx="4248150" cy="177800"/>
            </a:xfrm>
            <a:custGeom>
              <a:avLst/>
              <a:gdLst>
                <a:gd name="T0" fmla="*/ 2072 w 2072"/>
                <a:gd name="T1" fmla="*/ 31 h 87"/>
                <a:gd name="T2" fmla="*/ 2072 w 2072"/>
                <a:gd name="T3" fmla="*/ 87 h 87"/>
                <a:gd name="T4" fmla="*/ 0 w 2072"/>
                <a:gd name="T5" fmla="*/ 87 h 87"/>
                <a:gd name="T6" fmla="*/ 0 w 2072"/>
                <a:gd name="T7" fmla="*/ 31 h 87"/>
                <a:gd name="T8" fmla="*/ 30 w 2072"/>
                <a:gd name="T9" fmla="*/ 0 h 87"/>
                <a:gd name="T10" fmla="*/ 2042 w 2072"/>
                <a:gd name="T11" fmla="*/ 0 h 87"/>
                <a:gd name="T12" fmla="*/ 2072 w 2072"/>
                <a:gd name="T13" fmla="*/ 3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72" h="87">
                  <a:moveTo>
                    <a:pt x="2072" y="31"/>
                  </a:moveTo>
                  <a:cubicBezTo>
                    <a:pt x="2072" y="87"/>
                    <a:pt x="2072" y="87"/>
                    <a:pt x="2072" y="87"/>
                  </a:cubicBezTo>
                  <a:cubicBezTo>
                    <a:pt x="0" y="87"/>
                    <a:pt x="0" y="87"/>
                    <a:pt x="0" y="87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14"/>
                    <a:pt x="14" y="0"/>
                    <a:pt x="30" y="0"/>
                  </a:cubicBezTo>
                  <a:cubicBezTo>
                    <a:pt x="2042" y="0"/>
                    <a:pt x="2042" y="0"/>
                    <a:pt x="2042" y="0"/>
                  </a:cubicBezTo>
                  <a:cubicBezTo>
                    <a:pt x="2059" y="0"/>
                    <a:pt x="2072" y="14"/>
                    <a:pt x="2072" y="31"/>
                  </a:cubicBezTo>
                  <a:close/>
                </a:path>
              </a:pathLst>
            </a:custGeom>
            <a:solidFill>
              <a:srgbClr val="A548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0" name="iš1îďè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865688" y="3570288"/>
              <a:ext cx="1147763" cy="177800"/>
            </a:xfrm>
            <a:custGeom>
              <a:avLst/>
              <a:gdLst>
                <a:gd name="T0" fmla="*/ 560 w 560"/>
                <a:gd name="T1" fmla="*/ 0 h 87"/>
                <a:gd name="T2" fmla="*/ 507 w 560"/>
                <a:gd name="T3" fmla="*/ 87 h 87"/>
                <a:gd name="T4" fmla="*/ 0 w 560"/>
                <a:gd name="T5" fmla="*/ 87 h 87"/>
                <a:gd name="T6" fmla="*/ 7 w 560"/>
                <a:gd name="T7" fmla="*/ 0 h 87"/>
                <a:gd name="T8" fmla="*/ 560 w 560"/>
                <a:gd name="T9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0" h="87">
                  <a:moveTo>
                    <a:pt x="560" y="0"/>
                  </a:moveTo>
                  <a:cubicBezTo>
                    <a:pt x="543" y="27"/>
                    <a:pt x="524" y="59"/>
                    <a:pt x="507" y="87"/>
                  </a:cubicBezTo>
                  <a:cubicBezTo>
                    <a:pt x="0" y="87"/>
                    <a:pt x="0" y="87"/>
                    <a:pt x="0" y="87"/>
                  </a:cubicBezTo>
                  <a:cubicBezTo>
                    <a:pt x="7" y="0"/>
                    <a:pt x="7" y="0"/>
                    <a:pt x="7" y="0"/>
                  </a:cubicBezTo>
                  <a:lnTo>
                    <a:pt x="560" y="0"/>
                  </a:lnTo>
                  <a:close/>
                </a:path>
              </a:pathLst>
            </a:custGeom>
            <a:solidFill>
              <a:srgbClr val="843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1" name="ïsḻïḋ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8107363" y="4352925"/>
              <a:ext cx="1090613" cy="1368425"/>
            </a:xfrm>
            <a:prstGeom prst="rect">
              <a:avLst/>
            </a:prstGeom>
            <a:solidFill>
              <a:srgbClr val="7F39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2" name="ïśľíḋè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720013" y="4352925"/>
              <a:ext cx="1073150" cy="1368425"/>
            </a:xfrm>
            <a:prstGeom prst="rect">
              <a:avLst/>
            </a:prstGeom>
            <a:solidFill>
              <a:srgbClr val="6E38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3" name="íṥḷïdé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707313" y="4456113"/>
              <a:ext cx="1019175" cy="368300"/>
            </a:xfrm>
            <a:prstGeom prst="rect">
              <a:avLst/>
            </a:prstGeom>
            <a:solidFill>
              <a:srgbClr val="DF7D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4" name="îṩḻiḓ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707313" y="4891088"/>
              <a:ext cx="1019175" cy="368300"/>
            </a:xfrm>
            <a:prstGeom prst="rect">
              <a:avLst/>
            </a:prstGeom>
            <a:solidFill>
              <a:srgbClr val="DF7D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5" name="íṡľiḍé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707313" y="5326063"/>
              <a:ext cx="1019175" cy="395287"/>
            </a:xfrm>
            <a:prstGeom prst="rect">
              <a:avLst/>
            </a:prstGeom>
            <a:solidFill>
              <a:srgbClr val="DF7D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6" name="ïṡḷîḓ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8010525" y="4619625"/>
              <a:ext cx="295275" cy="41275"/>
            </a:xfrm>
            <a:custGeom>
              <a:avLst/>
              <a:gdLst>
                <a:gd name="T0" fmla="*/ 10 w 144"/>
                <a:gd name="T1" fmla="*/ 20 h 20"/>
                <a:gd name="T2" fmla="*/ 134 w 144"/>
                <a:gd name="T3" fmla="*/ 20 h 20"/>
                <a:gd name="T4" fmla="*/ 144 w 144"/>
                <a:gd name="T5" fmla="*/ 10 h 20"/>
                <a:gd name="T6" fmla="*/ 134 w 144"/>
                <a:gd name="T7" fmla="*/ 0 h 20"/>
                <a:gd name="T8" fmla="*/ 10 w 144"/>
                <a:gd name="T9" fmla="*/ 0 h 20"/>
                <a:gd name="T10" fmla="*/ 0 w 144"/>
                <a:gd name="T11" fmla="*/ 10 h 20"/>
                <a:gd name="T12" fmla="*/ 10 w 144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" h="20">
                  <a:moveTo>
                    <a:pt x="10" y="20"/>
                  </a:moveTo>
                  <a:cubicBezTo>
                    <a:pt x="134" y="20"/>
                    <a:pt x="134" y="20"/>
                    <a:pt x="134" y="20"/>
                  </a:cubicBezTo>
                  <a:cubicBezTo>
                    <a:pt x="140" y="20"/>
                    <a:pt x="144" y="15"/>
                    <a:pt x="144" y="10"/>
                  </a:cubicBezTo>
                  <a:cubicBezTo>
                    <a:pt x="144" y="5"/>
                    <a:pt x="140" y="0"/>
                    <a:pt x="134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5" y="0"/>
                    <a:pt x="0" y="5"/>
                    <a:pt x="0" y="10"/>
                  </a:cubicBezTo>
                  <a:cubicBezTo>
                    <a:pt x="0" y="15"/>
                    <a:pt x="5" y="20"/>
                    <a:pt x="10" y="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7" name="isľíḍe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8002588" y="5053013"/>
              <a:ext cx="293688" cy="38100"/>
            </a:xfrm>
            <a:custGeom>
              <a:avLst/>
              <a:gdLst>
                <a:gd name="T0" fmla="*/ 9 w 143"/>
                <a:gd name="T1" fmla="*/ 19 h 19"/>
                <a:gd name="T2" fmla="*/ 133 w 143"/>
                <a:gd name="T3" fmla="*/ 19 h 19"/>
                <a:gd name="T4" fmla="*/ 143 w 143"/>
                <a:gd name="T5" fmla="*/ 9 h 19"/>
                <a:gd name="T6" fmla="*/ 133 w 143"/>
                <a:gd name="T7" fmla="*/ 0 h 19"/>
                <a:gd name="T8" fmla="*/ 9 w 143"/>
                <a:gd name="T9" fmla="*/ 0 h 19"/>
                <a:gd name="T10" fmla="*/ 0 w 143"/>
                <a:gd name="T11" fmla="*/ 9 h 19"/>
                <a:gd name="T12" fmla="*/ 9 w 143"/>
                <a:gd name="T1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3" h="19">
                  <a:moveTo>
                    <a:pt x="9" y="19"/>
                  </a:moveTo>
                  <a:cubicBezTo>
                    <a:pt x="133" y="19"/>
                    <a:pt x="133" y="19"/>
                    <a:pt x="133" y="19"/>
                  </a:cubicBezTo>
                  <a:cubicBezTo>
                    <a:pt x="139" y="19"/>
                    <a:pt x="143" y="15"/>
                    <a:pt x="143" y="9"/>
                  </a:cubicBezTo>
                  <a:cubicBezTo>
                    <a:pt x="143" y="4"/>
                    <a:pt x="139" y="0"/>
                    <a:pt x="133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5"/>
                    <a:pt x="4" y="19"/>
                    <a:pt x="9" y="1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8" name="iṧḻíď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8002588" y="5483225"/>
              <a:ext cx="293688" cy="39687"/>
            </a:xfrm>
            <a:custGeom>
              <a:avLst/>
              <a:gdLst>
                <a:gd name="T0" fmla="*/ 9 w 143"/>
                <a:gd name="T1" fmla="*/ 19 h 19"/>
                <a:gd name="T2" fmla="*/ 133 w 143"/>
                <a:gd name="T3" fmla="*/ 19 h 19"/>
                <a:gd name="T4" fmla="*/ 143 w 143"/>
                <a:gd name="T5" fmla="*/ 10 h 19"/>
                <a:gd name="T6" fmla="*/ 133 w 143"/>
                <a:gd name="T7" fmla="*/ 0 h 19"/>
                <a:gd name="T8" fmla="*/ 9 w 143"/>
                <a:gd name="T9" fmla="*/ 0 h 19"/>
                <a:gd name="T10" fmla="*/ 0 w 143"/>
                <a:gd name="T11" fmla="*/ 10 h 19"/>
                <a:gd name="T12" fmla="*/ 9 w 143"/>
                <a:gd name="T1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3" h="19">
                  <a:moveTo>
                    <a:pt x="9" y="19"/>
                  </a:moveTo>
                  <a:cubicBezTo>
                    <a:pt x="133" y="19"/>
                    <a:pt x="133" y="19"/>
                    <a:pt x="133" y="19"/>
                  </a:cubicBezTo>
                  <a:cubicBezTo>
                    <a:pt x="139" y="19"/>
                    <a:pt x="143" y="15"/>
                    <a:pt x="143" y="10"/>
                  </a:cubicBezTo>
                  <a:cubicBezTo>
                    <a:pt x="143" y="5"/>
                    <a:pt x="139" y="0"/>
                    <a:pt x="133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9" name="íśḷíďé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230813" y="5613400"/>
              <a:ext cx="565150" cy="198437"/>
            </a:xfrm>
            <a:custGeom>
              <a:avLst/>
              <a:gdLst>
                <a:gd name="T0" fmla="*/ 0 w 276"/>
                <a:gd name="T1" fmla="*/ 94 h 97"/>
                <a:gd name="T2" fmla="*/ 249 w 276"/>
                <a:gd name="T3" fmla="*/ 97 h 97"/>
                <a:gd name="T4" fmla="*/ 276 w 276"/>
                <a:gd name="T5" fmla="*/ 70 h 97"/>
                <a:gd name="T6" fmla="*/ 258 w 276"/>
                <a:gd name="T7" fmla="*/ 45 h 97"/>
                <a:gd name="T8" fmla="*/ 135 w 276"/>
                <a:gd name="T9" fmla="*/ 0 h 97"/>
                <a:gd name="T10" fmla="*/ 1 w 276"/>
                <a:gd name="T11" fmla="*/ 2 h 97"/>
                <a:gd name="T12" fmla="*/ 0 w 276"/>
                <a:gd name="T13" fmla="*/ 94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6" h="97">
                  <a:moveTo>
                    <a:pt x="0" y="94"/>
                  </a:moveTo>
                  <a:cubicBezTo>
                    <a:pt x="249" y="97"/>
                    <a:pt x="249" y="97"/>
                    <a:pt x="249" y="97"/>
                  </a:cubicBezTo>
                  <a:cubicBezTo>
                    <a:pt x="263" y="97"/>
                    <a:pt x="276" y="85"/>
                    <a:pt x="276" y="70"/>
                  </a:cubicBezTo>
                  <a:cubicBezTo>
                    <a:pt x="276" y="59"/>
                    <a:pt x="269" y="48"/>
                    <a:pt x="258" y="45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" y="2"/>
                    <a:pt x="1" y="2"/>
                    <a:pt x="1" y="2"/>
                  </a:cubicBezTo>
                  <a:lnTo>
                    <a:pt x="0" y="94"/>
                  </a:lnTo>
                  <a:close/>
                </a:path>
              </a:pathLst>
            </a:custGeom>
            <a:solidFill>
              <a:srgbClr val="7F39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0" name="îŝľiḑ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233988" y="5786438"/>
              <a:ext cx="554038" cy="39687"/>
            </a:xfrm>
            <a:custGeom>
              <a:avLst/>
              <a:gdLst>
                <a:gd name="T0" fmla="*/ 251 w 270"/>
                <a:gd name="T1" fmla="*/ 19 h 19"/>
                <a:gd name="T2" fmla="*/ 0 w 270"/>
                <a:gd name="T3" fmla="*/ 18 h 19"/>
                <a:gd name="T4" fmla="*/ 0 w 270"/>
                <a:gd name="T5" fmla="*/ 0 h 19"/>
                <a:gd name="T6" fmla="*/ 270 w 270"/>
                <a:gd name="T7" fmla="*/ 1 h 19"/>
                <a:gd name="T8" fmla="*/ 251 w 270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0" h="19">
                  <a:moveTo>
                    <a:pt x="251" y="19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70" y="1"/>
                    <a:pt x="270" y="1"/>
                    <a:pt x="270" y="1"/>
                  </a:cubicBezTo>
                  <a:cubicBezTo>
                    <a:pt x="270" y="11"/>
                    <a:pt x="261" y="19"/>
                    <a:pt x="251" y="19"/>
                  </a:cubicBezTo>
                  <a:close/>
                </a:path>
              </a:pathLst>
            </a:custGeom>
            <a:solidFill>
              <a:srgbClr val="0813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1" name="îŝḷïḓ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 flipV="1">
              <a:off x="5500688" y="5624513"/>
              <a:ext cx="60325" cy="63500"/>
            </a:xfrm>
            <a:prstGeom prst="line">
              <a:avLst/>
            </a:prstGeom>
            <a:noFill/>
            <a:ln w="11113" cap="rnd">
              <a:solidFill>
                <a:srgbClr val="08134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2" name="îṣḷïḓ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 flipV="1">
              <a:off x="5546725" y="5643563"/>
              <a:ext cx="58738" cy="63500"/>
            </a:xfrm>
            <a:prstGeom prst="line">
              <a:avLst/>
            </a:prstGeom>
            <a:noFill/>
            <a:ln w="11113" cap="rnd">
              <a:solidFill>
                <a:srgbClr val="08134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3" name="íṡ1ïd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 flipV="1">
              <a:off x="5588000" y="5659438"/>
              <a:ext cx="66675" cy="71437"/>
            </a:xfrm>
            <a:prstGeom prst="line">
              <a:avLst/>
            </a:prstGeom>
            <a:noFill/>
            <a:ln w="11113" cap="rnd">
              <a:solidFill>
                <a:srgbClr val="08134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4" name="ïsľíďe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535488" y="4075113"/>
              <a:ext cx="1023938" cy="1562100"/>
            </a:xfrm>
            <a:custGeom>
              <a:avLst/>
              <a:gdLst>
                <a:gd name="T0" fmla="*/ 330 w 499"/>
                <a:gd name="T1" fmla="*/ 762 h 762"/>
                <a:gd name="T2" fmla="*/ 322 w 499"/>
                <a:gd name="T3" fmla="*/ 250 h 762"/>
                <a:gd name="T4" fmla="*/ 0 w 499"/>
                <a:gd name="T5" fmla="*/ 154 h 762"/>
                <a:gd name="T6" fmla="*/ 71 w 499"/>
                <a:gd name="T7" fmla="*/ 0 h 762"/>
                <a:gd name="T8" fmla="*/ 460 w 499"/>
                <a:gd name="T9" fmla="*/ 169 h 762"/>
                <a:gd name="T10" fmla="*/ 490 w 499"/>
                <a:gd name="T11" fmla="*/ 524 h 762"/>
                <a:gd name="T12" fmla="*/ 478 w 499"/>
                <a:gd name="T13" fmla="*/ 756 h 762"/>
                <a:gd name="T14" fmla="*/ 330 w 499"/>
                <a:gd name="T15" fmla="*/ 762 h 7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9" h="762">
                  <a:moveTo>
                    <a:pt x="330" y="762"/>
                  </a:moveTo>
                  <a:cubicBezTo>
                    <a:pt x="345" y="520"/>
                    <a:pt x="341" y="295"/>
                    <a:pt x="322" y="250"/>
                  </a:cubicBezTo>
                  <a:cubicBezTo>
                    <a:pt x="303" y="222"/>
                    <a:pt x="151" y="160"/>
                    <a:pt x="0" y="154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269" y="10"/>
                    <a:pt x="411" y="84"/>
                    <a:pt x="460" y="169"/>
                  </a:cubicBezTo>
                  <a:cubicBezTo>
                    <a:pt x="481" y="205"/>
                    <a:pt x="499" y="277"/>
                    <a:pt x="490" y="524"/>
                  </a:cubicBezTo>
                  <a:cubicBezTo>
                    <a:pt x="484" y="654"/>
                    <a:pt x="478" y="756"/>
                    <a:pt x="478" y="756"/>
                  </a:cubicBezTo>
                  <a:lnTo>
                    <a:pt x="330" y="762"/>
                  </a:lnTo>
                  <a:close/>
                </a:path>
              </a:pathLst>
            </a:custGeom>
            <a:solidFill>
              <a:srgbClr val="1C1C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5" name="ïṩľide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683250" y="5624513"/>
              <a:ext cx="566738" cy="196850"/>
            </a:xfrm>
            <a:custGeom>
              <a:avLst/>
              <a:gdLst>
                <a:gd name="T0" fmla="*/ 0 w 276"/>
                <a:gd name="T1" fmla="*/ 94 h 96"/>
                <a:gd name="T2" fmla="*/ 249 w 276"/>
                <a:gd name="T3" fmla="*/ 96 h 96"/>
                <a:gd name="T4" fmla="*/ 276 w 276"/>
                <a:gd name="T5" fmla="*/ 69 h 96"/>
                <a:gd name="T6" fmla="*/ 258 w 276"/>
                <a:gd name="T7" fmla="*/ 44 h 96"/>
                <a:gd name="T8" fmla="*/ 135 w 276"/>
                <a:gd name="T9" fmla="*/ 0 h 96"/>
                <a:gd name="T10" fmla="*/ 1 w 276"/>
                <a:gd name="T11" fmla="*/ 2 h 96"/>
                <a:gd name="T12" fmla="*/ 0 w 276"/>
                <a:gd name="T13" fmla="*/ 9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6" h="96">
                  <a:moveTo>
                    <a:pt x="0" y="94"/>
                  </a:moveTo>
                  <a:cubicBezTo>
                    <a:pt x="249" y="96"/>
                    <a:pt x="249" y="96"/>
                    <a:pt x="249" y="96"/>
                  </a:cubicBezTo>
                  <a:cubicBezTo>
                    <a:pt x="264" y="96"/>
                    <a:pt x="276" y="84"/>
                    <a:pt x="276" y="69"/>
                  </a:cubicBezTo>
                  <a:cubicBezTo>
                    <a:pt x="276" y="58"/>
                    <a:pt x="269" y="48"/>
                    <a:pt x="258" y="44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" y="2"/>
                    <a:pt x="1" y="2"/>
                    <a:pt x="1" y="2"/>
                  </a:cubicBezTo>
                  <a:lnTo>
                    <a:pt x="0" y="94"/>
                  </a:lnTo>
                  <a:close/>
                </a:path>
              </a:pathLst>
            </a:custGeom>
            <a:solidFill>
              <a:srgbClr val="A052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6" name="îšļîḓé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680075" y="5799138"/>
              <a:ext cx="561975" cy="36512"/>
            </a:xfrm>
            <a:custGeom>
              <a:avLst/>
              <a:gdLst>
                <a:gd name="T0" fmla="*/ 256 w 274"/>
                <a:gd name="T1" fmla="*/ 18 h 18"/>
                <a:gd name="T2" fmla="*/ 0 w 274"/>
                <a:gd name="T3" fmla="*/ 18 h 18"/>
                <a:gd name="T4" fmla="*/ 0 w 274"/>
                <a:gd name="T5" fmla="*/ 0 h 18"/>
                <a:gd name="T6" fmla="*/ 274 w 274"/>
                <a:gd name="T7" fmla="*/ 0 h 18"/>
                <a:gd name="T8" fmla="*/ 256 w 274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4" h="18">
                  <a:moveTo>
                    <a:pt x="256" y="18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74" y="0"/>
                    <a:pt x="274" y="0"/>
                    <a:pt x="274" y="0"/>
                  </a:cubicBezTo>
                  <a:cubicBezTo>
                    <a:pt x="274" y="10"/>
                    <a:pt x="266" y="18"/>
                    <a:pt x="256" y="18"/>
                  </a:cubicBezTo>
                  <a:close/>
                </a:path>
              </a:pathLst>
            </a:custGeom>
            <a:solidFill>
              <a:srgbClr val="0813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7" name="í$1iḓè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 flipV="1">
              <a:off x="5954713" y="5635625"/>
              <a:ext cx="60325" cy="63500"/>
            </a:xfrm>
            <a:prstGeom prst="line">
              <a:avLst/>
            </a:prstGeom>
            <a:noFill/>
            <a:ln w="11113" cap="rnd">
              <a:solidFill>
                <a:srgbClr val="08134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8" name="iṡļïdé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 flipV="1">
              <a:off x="5999163" y="5653088"/>
              <a:ext cx="60325" cy="63500"/>
            </a:xfrm>
            <a:prstGeom prst="line">
              <a:avLst/>
            </a:prstGeom>
            <a:noFill/>
            <a:ln w="11113" cap="rnd">
              <a:solidFill>
                <a:srgbClr val="08134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9" name="íŝļíḍè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 flipV="1">
              <a:off x="6040438" y="5670550"/>
              <a:ext cx="68263" cy="71437"/>
            </a:xfrm>
            <a:prstGeom prst="line">
              <a:avLst/>
            </a:prstGeom>
            <a:noFill/>
            <a:ln w="11113" cap="rnd">
              <a:solidFill>
                <a:srgbClr val="08134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0" name="ísḷîde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987925" y="4075113"/>
              <a:ext cx="1023938" cy="1562100"/>
            </a:xfrm>
            <a:custGeom>
              <a:avLst/>
              <a:gdLst>
                <a:gd name="T0" fmla="*/ 330 w 499"/>
                <a:gd name="T1" fmla="*/ 762 h 762"/>
                <a:gd name="T2" fmla="*/ 322 w 499"/>
                <a:gd name="T3" fmla="*/ 250 h 762"/>
                <a:gd name="T4" fmla="*/ 0 w 499"/>
                <a:gd name="T5" fmla="*/ 154 h 762"/>
                <a:gd name="T6" fmla="*/ 71 w 499"/>
                <a:gd name="T7" fmla="*/ 0 h 762"/>
                <a:gd name="T8" fmla="*/ 460 w 499"/>
                <a:gd name="T9" fmla="*/ 169 h 762"/>
                <a:gd name="T10" fmla="*/ 490 w 499"/>
                <a:gd name="T11" fmla="*/ 524 h 762"/>
                <a:gd name="T12" fmla="*/ 478 w 499"/>
                <a:gd name="T13" fmla="*/ 756 h 762"/>
                <a:gd name="T14" fmla="*/ 330 w 499"/>
                <a:gd name="T15" fmla="*/ 762 h 7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9" h="762">
                  <a:moveTo>
                    <a:pt x="330" y="762"/>
                  </a:moveTo>
                  <a:cubicBezTo>
                    <a:pt x="345" y="520"/>
                    <a:pt x="341" y="295"/>
                    <a:pt x="322" y="250"/>
                  </a:cubicBezTo>
                  <a:cubicBezTo>
                    <a:pt x="303" y="222"/>
                    <a:pt x="151" y="160"/>
                    <a:pt x="0" y="154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269" y="10"/>
                    <a:pt x="411" y="84"/>
                    <a:pt x="460" y="169"/>
                  </a:cubicBezTo>
                  <a:cubicBezTo>
                    <a:pt x="481" y="205"/>
                    <a:pt x="499" y="277"/>
                    <a:pt x="490" y="524"/>
                  </a:cubicBezTo>
                  <a:cubicBezTo>
                    <a:pt x="484" y="654"/>
                    <a:pt x="478" y="756"/>
                    <a:pt x="478" y="756"/>
                  </a:cubicBezTo>
                  <a:lnTo>
                    <a:pt x="330" y="762"/>
                  </a:lnTo>
                  <a:close/>
                </a:path>
              </a:pathLst>
            </a:custGeom>
            <a:solidFill>
              <a:srgbClr val="1C1C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1" name="íṡľïḍ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381500" y="4035425"/>
              <a:ext cx="847725" cy="358775"/>
            </a:xfrm>
            <a:custGeom>
              <a:avLst/>
              <a:gdLst>
                <a:gd name="T0" fmla="*/ 413 w 413"/>
                <a:gd name="T1" fmla="*/ 63 h 175"/>
                <a:gd name="T2" fmla="*/ 388 w 413"/>
                <a:gd name="T3" fmla="*/ 134 h 175"/>
                <a:gd name="T4" fmla="*/ 301 w 413"/>
                <a:gd name="T5" fmla="*/ 175 h 175"/>
                <a:gd name="T6" fmla="*/ 112 w 413"/>
                <a:gd name="T7" fmla="*/ 175 h 175"/>
                <a:gd name="T8" fmla="*/ 96 w 413"/>
                <a:gd name="T9" fmla="*/ 174 h 175"/>
                <a:gd name="T10" fmla="*/ 57 w 413"/>
                <a:gd name="T11" fmla="*/ 161 h 175"/>
                <a:gd name="T12" fmla="*/ 51 w 413"/>
                <a:gd name="T13" fmla="*/ 157 h 175"/>
                <a:gd name="T14" fmla="*/ 0 w 413"/>
                <a:gd name="T15" fmla="*/ 63 h 175"/>
                <a:gd name="T16" fmla="*/ 3 w 413"/>
                <a:gd name="T17" fmla="*/ 3 h 175"/>
                <a:gd name="T18" fmla="*/ 410 w 413"/>
                <a:gd name="T19" fmla="*/ 0 h 175"/>
                <a:gd name="T20" fmla="*/ 413 w 413"/>
                <a:gd name="T21" fmla="*/ 63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13" h="175">
                  <a:moveTo>
                    <a:pt x="413" y="63"/>
                  </a:moveTo>
                  <a:cubicBezTo>
                    <a:pt x="413" y="90"/>
                    <a:pt x="404" y="115"/>
                    <a:pt x="388" y="134"/>
                  </a:cubicBezTo>
                  <a:cubicBezTo>
                    <a:pt x="367" y="159"/>
                    <a:pt x="336" y="175"/>
                    <a:pt x="301" y="175"/>
                  </a:cubicBezTo>
                  <a:cubicBezTo>
                    <a:pt x="112" y="175"/>
                    <a:pt x="112" y="175"/>
                    <a:pt x="112" y="175"/>
                  </a:cubicBezTo>
                  <a:cubicBezTo>
                    <a:pt x="107" y="175"/>
                    <a:pt x="101" y="175"/>
                    <a:pt x="96" y="174"/>
                  </a:cubicBezTo>
                  <a:cubicBezTo>
                    <a:pt x="82" y="172"/>
                    <a:pt x="69" y="167"/>
                    <a:pt x="57" y="161"/>
                  </a:cubicBezTo>
                  <a:cubicBezTo>
                    <a:pt x="55" y="160"/>
                    <a:pt x="53" y="158"/>
                    <a:pt x="51" y="157"/>
                  </a:cubicBezTo>
                  <a:cubicBezTo>
                    <a:pt x="20" y="137"/>
                    <a:pt x="0" y="102"/>
                    <a:pt x="0" y="6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10" y="0"/>
                    <a:pt x="410" y="0"/>
                    <a:pt x="410" y="0"/>
                  </a:cubicBezTo>
                  <a:lnTo>
                    <a:pt x="413" y="63"/>
                  </a:lnTo>
                  <a:close/>
                </a:path>
              </a:pathLst>
            </a:custGeom>
            <a:solidFill>
              <a:srgbClr val="1C1C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2" name="íŝļíḑ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462588" y="3419475"/>
              <a:ext cx="255588" cy="90487"/>
            </a:xfrm>
            <a:custGeom>
              <a:avLst/>
              <a:gdLst>
                <a:gd name="T0" fmla="*/ 16 w 125"/>
                <a:gd name="T1" fmla="*/ 43 h 44"/>
                <a:gd name="T2" fmla="*/ 113 w 125"/>
                <a:gd name="T3" fmla="*/ 27 h 44"/>
                <a:gd name="T4" fmla="*/ 124 w 125"/>
                <a:gd name="T5" fmla="*/ 12 h 44"/>
                <a:gd name="T6" fmla="*/ 109 w 125"/>
                <a:gd name="T7" fmla="*/ 2 h 44"/>
                <a:gd name="T8" fmla="*/ 12 w 125"/>
                <a:gd name="T9" fmla="*/ 17 h 44"/>
                <a:gd name="T10" fmla="*/ 1 w 125"/>
                <a:gd name="T11" fmla="*/ 32 h 44"/>
                <a:gd name="T12" fmla="*/ 16 w 125"/>
                <a:gd name="T13" fmla="*/ 43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5" h="44">
                  <a:moveTo>
                    <a:pt x="16" y="43"/>
                  </a:moveTo>
                  <a:cubicBezTo>
                    <a:pt x="113" y="27"/>
                    <a:pt x="113" y="27"/>
                    <a:pt x="113" y="27"/>
                  </a:cubicBezTo>
                  <a:cubicBezTo>
                    <a:pt x="121" y="26"/>
                    <a:pt x="125" y="20"/>
                    <a:pt x="124" y="12"/>
                  </a:cubicBezTo>
                  <a:cubicBezTo>
                    <a:pt x="123" y="5"/>
                    <a:pt x="116" y="0"/>
                    <a:pt x="109" y="2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5" y="18"/>
                    <a:pt x="0" y="25"/>
                    <a:pt x="1" y="32"/>
                  </a:cubicBezTo>
                  <a:cubicBezTo>
                    <a:pt x="2" y="39"/>
                    <a:pt x="9" y="44"/>
                    <a:pt x="16" y="43"/>
                  </a:cubicBezTo>
                  <a:close/>
                </a:path>
              </a:pathLst>
            </a:custGeom>
            <a:solidFill>
              <a:srgbClr val="FCBB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3" name="ïṣľiḋé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526088" y="3481388"/>
              <a:ext cx="217488" cy="82550"/>
            </a:xfrm>
            <a:custGeom>
              <a:avLst/>
              <a:gdLst>
                <a:gd name="T0" fmla="*/ 16 w 106"/>
                <a:gd name="T1" fmla="*/ 39 h 40"/>
                <a:gd name="T2" fmla="*/ 94 w 106"/>
                <a:gd name="T3" fmla="*/ 27 h 40"/>
                <a:gd name="T4" fmla="*/ 105 w 106"/>
                <a:gd name="T5" fmla="*/ 12 h 40"/>
                <a:gd name="T6" fmla="*/ 90 w 106"/>
                <a:gd name="T7" fmla="*/ 1 h 40"/>
                <a:gd name="T8" fmla="*/ 12 w 106"/>
                <a:gd name="T9" fmla="*/ 13 h 40"/>
                <a:gd name="T10" fmla="*/ 1 w 106"/>
                <a:gd name="T11" fmla="*/ 28 h 40"/>
                <a:gd name="T12" fmla="*/ 16 w 106"/>
                <a:gd name="T1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40">
                  <a:moveTo>
                    <a:pt x="16" y="39"/>
                  </a:moveTo>
                  <a:cubicBezTo>
                    <a:pt x="94" y="27"/>
                    <a:pt x="94" y="27"/>
                    <a:pt x="94" y="27"/>
                  </a:cubicBezTo>
                  <a:cubicBezTo>
                    <a:pt x="101" y="26"/>
                    <a:pt x="106" y="19"/>
                    <a:pt x="105" y="12"/>
                  </a:cubicBezTo>
                  <a:cubicBezTo>
                    <a:pt x="104" y="5"/>
                    <a:pt x="97" y="0"/>
                    <a:pt x="90" y="1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5" y="15"/>
                    <a:pt x="0" y="21"/>
                    <a:pt x="1" y="28"/>
                  </a:cubicBezTo>
                  <a:cubicBezTo>
                    <a:pt x="2" y="36"/>
                    <a:pt x="9" y="40"/>
                    <a:pt x="16" y="39"/>
                  </a:cubicBezTo>
                  <a:close/>
                </a:path>
              </a:pathLst>
            </a:custGeom>
            <a:solidFill>
              <a:srgbClr val="FCBB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4" name="îşľïḓè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489575" y="3546475"/>
              <a:ext cx="247650" cy="88900"/>
            </a:xfrm>
            <a:custGeom>
              <a:avLst/>
              <a:gdLst>
                <a:gd name="T0" fmla="*/ 16 w 121"/>
                <a:gd name="T1" fmla="*/ 41 h 43"/>
                <a:gd name="T2" fmla="*/ 109 w 121"/>
                <a:gd name="T3" fmla="*/ 27 h 43"/>
                <a:gd name="T4" fmla="*/ 119 w 121"/>
                <a:gd name="T5" fmla="*/ 12 h 43"/>
                <a:gd name="T6" fmla="*/ 104 w 121"/>
                <a:gd name="T7" fmla="*/ 1 h 43"/>
                <a:gd name="T8" fmla="*/ 12 w 121"/>
                <a:gd name="T9" fmla="*/ 16 h 43"/>
                <a:gd name="T10" fmla="*/ 1 w 121"/>
                <a:gd name="T11" fmla="*/ 31 h 43"/>
                <a:gd name="T12" fmla="*/ 16 w 121"/>
                <a:gd name="T13" fmla="*/ 4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43">
                  <a:moveTo>
                    <a:pt x="16" y="41"/>
                  </a:moveTo>
                  <a:cubicBezTo>
                    <a:pt x="109" y="27"/>
                    <a:pt x="109" y="27"/>
                    <a:pt x="109" y="27"/>
                  </a:cubicBezTo>
                  <a:cubicBezTo>
                    <a:pt x="116" y="26"/>
                    <a:pt x="121" y="19"/>
                    <a:pt x="119" y="12"/>
                  </a:cubicBezTo>
                  <a:cubicBezTo>
                    <a:pt x="118" y="5"/>
                    <a:pt x="112" y="0"/>
                    <a:pt x="104" y="1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5" y="17"/>
                    <a:pt x="0" y="23"/>
                    <a:pt x="1" y="31"/>
                  </a:cubicBezTo>
                  <a:cubicBezTo>
                    <a:pt x="2" y="38"/>
                    <a:pt x="9" y="43"/>
                    <a:pt x="16" y="41"/>
                  </a:cubicBezTo>
                  <a:close/>
                </a:path>
              </a:pathLst>
            </a:custGeom>
            <a:solidFill>
              <a:srgbClr val="FCBB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5" name="íSľíḋé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316538" y="3454400"/>
              <a:ext cx="265113" cy="231775"/>
            </a:xfrm>
            <a:custGeom>
              <a:avLst/>
              <a:gdLst>
                <a:gd name="T0" fmla="*/ 129 w 129"/>
                <a:gd name="T1" fmla="*/ 1 h 113"/>
                <a:gd name="T2" fmla="*/ 103 w 129"/>
                <a:gd name="T3" fmla="*/ 1 h 113"/>
                <a:gd name="T4" fmla="*/ 39 w 129"/>
                <a:gd name="T5" fmla="*/ 15 h 113"/>
                <a:gd name="T6" fmla="*/ 0 w 129"/>
                <a:gd name="T7" fmla="*/ 34 h 113"/>
                <a:gd name="T8" fmla="*/ 25 w 129"/>
                <a:gd name="T9" fmla="*/ 100 h 113"/>
                <a:gd name="T10" fmla="*/ 125 w 129"/>
                <a:gd name="T11" fmla="*/ 79 h 113"/>
                <a:gd name="T12" fmla="*/ 129 w 129"/>
                <a:gd name="T13" fmla="*/ 1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9" h="113">
                  <a:moveTo>
                    <a:pt x="129" y="1"/>
                  </a:moveTo>
                  <a:cubicBezTo>
                    <a:pt x="128" y="1"/>
                    <a:pt x="116" y="1"/>
                    <a:pt x="103" y="1"/>
                  </a:cubicBezTo>
                  <a:cubicBezTo>
                    <a:pt x="81" y="0"/>
                    <a:pt x="59" y="5"/>
                    <a:pt x="39" y="1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4"/>
                    <a:pt x="22" y="99"/>
                    <a:pt x="25" y="100"/>
                  </a:cubicBezTo>
                  <a:cubicBezTo>
                    <a:pt x="99" y="113"/>
                    <a:pt x="125" y="79"/>
                    <a:pt x="125" y="79"/>
                  </a:cubicBezTo>
                  <a:lnTo>
                    <a:pt x="129" y="1"/>
                  </a:lnTo>
                  <a:close/>
                </a:path>
              </a:pathLst>
            </a:custGeom>
            <a:solidFill>
              <a:srgbClr val="FCBB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6" name="ïŝlïďè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395913" y="3457575"/>
              <a:ext cx="68263" cy="21748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7" name="ïṡ1îḑè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373563" y="2735263"/>
              <a:ext cx="1027113" cy="963612"/>
            </a:xfrm>
            <a:custGeom>
              <a:avLst/>
              <a:gdLst>
                <a:gd name="T0" fmla="*/ 284 w 501"/>
                <a:gd name="T1" fmla="*/ 470 h 470"/>
                <a:gd name="T2" fmla="*/ 103 w 501"/>
                <a:gd name="T3" fmla="*/ 354 h 470"/>
                <a:gd name="T4" fmla="*/ 101 w 501"/>
                <a:gd name="T5" fmla="*/ 351 h 470"/>
                <a:gd name="T6" fmla="*/ 0 w 501"/>
                <a:gd name="T7" fmla="*/ 41 h 470"/>
                <a:gd name="T8" fmla="*/ 125 w 501"/>
                <a:gd name="T9" fmla="*/ 0 h 470"/>
                <a:gd name="T10" fmla="*/ 224 w 501"/>
                <a:gd name="T11" fmla="*/ 302 h 470"/>
                <a:gd name="T12" fmla="*/ 284 w 501"/>
                <a:gd name="T13" fmla="*/ 339 h 470"/>
                <a:gd name="T14" fmla="*/ 500 w 501"/>
                <a:gd name="T15" fmla="*/ 336 h 470"/>
                <a:gd name="T16" fmla="*/ 501 w 501"/>
                <a:gd name="T17" fmla="*/ 468 h 470"/>
                <a:gd name="T18" fmla="*/ 286 w 501"/>
                <a:gd name="T19" fmla="*/ 470 h 470"/>
                <a:gd name="T20" fmla="*/ 284 w 501"/>
                <a:gd name="T21" fmla="*/ 470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1" h="470">
                  <a:moveTo>
                    <a:pt x="284" y="470"/>
                  </a:moveTo>
                  <a:cubicBezTo>
                    <a:pt x="206" y="470"/>
                    <a:pt x="135" y="425"/>
                    <a:pt x="103" y="354"/>
                  </a:cubicBezTo>
                  <a:cubicBezTo>
                    <a:pt x="101" y="351"/>
                    <a:pt x="101" y="351"/>
                    <a:pt x="101" y="35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224" y="302"/>
                    <a:pt x="224" y="302"/>
                    <a:pt x="224" y="302"/>
                  </a:cubicBezTo>
                  <a:cubicBezTo>
                    <a:pt x="235" y="325"/>
                    <a:pt x="259" y="339"/>
                    <a:pt x="284" y="339"/>
                  </a:cubicBezTo>
                  <a:cubicBezTo>
                    <a:pt x="500" y="336"/>
                    <a:pt x="500" y="336"/>
                    <a:pt x="500" y="336"/>
                  </a:cubicBezTo>
                  <a:cubicBezTo>
                    <a:pt x="501" y="468"/>
                    <a:pt x="501" y="468"/>
                    <a:pt x="501" y="468"/>
                  </a:cubicBezTo>
                  <a:cubicBezTo>
                    <a:pt x="286" y="470"/>
                    <a:pt x="286" y="470"/>
                    <a:pt x="286" y="470"/>
                  </a:cubicBezTo>
                  <a:cubicBezTo>
                    <a:pt x="285" y="470"/>
                    <a:pt x="284" y="470"/>
                    <a:pt x="284" y="470"/>
                  </a:cubicBezTo>
                  <a:close/>
                </a:path>
              </a:pathLst>
            </a:custGeom>
            <a:solidFill>
              <a:srgbClr val="1C1C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8" name="iSlîḓ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081713" y="3338513"/>
              <a:ext cx="346075" cy="192087"/>
            </a:xfrm>
            <a:custGeom>
              <a:avLst/>
              <a:gdLst>
                <a:gd name="T0" fmla="*/ 153 w 169"/>
                <a:gd name="T1" fmla="*/ 48 h 94"/>
                <a:gd name="T2" fmla="*/ 119 w 169"/>
                <a:gd name="T3" fmla="*/ 15 h 94"/>
                <a:gd name="T4" fmla="*/ 118 w 169"/>
                <a:gd name="T5" fmla="*/ 15 h 94"/>
                <a:gd name="T6" fmla="*/ 54 w 169"/>
                <a:gd name="T7" fmla="*/ 0 h 94"/>
                <a:gd name="T8" fmla="*/ 11 w 169"/>
                <a:gd name="T9" fmla="*/ 1 h 94"/>
                <a:gd name="T10" fmla="*/ 1 w 169"/>
                <a:gd name="T11" fmla="*/ 91 h 94"/>
                <a:gd name="T12" fmla="*/ 153 w 169"/>
                <a:gd name="T13" fmla="*/ 88 h 94"/>
                <a:gd name="T14" fmla="*/ 164 w 169"/>
                <a:gd name="T15" fmla="*/ 68 h 94"/>
                <a:gd name="T16" fmla="*/ 153 w 169"/>
                <a:gd name="T17" fmla="*/ 48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94">
                  <a:moveTo>
                    <a:pt x="153" y="48"/>
                  </a:moveTo>
                  <a:cubicBezTo>
                    <a:pt x="145" y="34"/>
                    <a:pt x="133" y="22"/>
                    <a:pt x="119" y="15"/>
                  </a:cubicBezTo>
                  <a:cubicBezTo>
                    <a:pt x="118" y="15"/>
                    <a:pt x="118" y="15"/>
                    <a:pt x="118" y="15"/>
                  </a:cubicBezTo>
                  <a:cubicBezTo>
                    <a:pt x="98" y="5"/>
                    <a:pt x="76" y="0"/>
                    <a:pt x="54" y="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0" y="94"/>
                    <a:pt x="1" y="91"/>
                  </a:cubicBezTo>
                  <a:cubicBezTo>
                    <a:pt x="2" y="85"/>
                    <a:pt x="105" y="87"/>
                    <a:pt x="153" y="88"/>
                  </a:cubicBezTo>
                  <a:cubicBezTo>
                    <a:pt x="163" y="88"/>
                    <a:pt x="169" y="77"/>
                    <a:pt x="164" y="68"/>
                  </a:cubicBezTo>
                  <a:lnTo>
                    <a:pt x="153" y="48"/>
                  </a:lnTo>
                  <a:close/>
                </a:path>
              </a:pathLst>
            </a:custGeom>
            <a:solidFill>
              <a:srgbClr val="FCBB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9" name="i$ḻiďe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049963" y="3325813"/>
              <a:ext cx="84138" cy="22542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0" name="ïṥļiḍè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970463" y="2579688"/>
              <a:ext cx="1117600" cy="996950"/>
            </a:xfrm>
            <a:custGeom>
              <a:avLst/>
              <a:gdLst>
                <a:gd name="T0" fmla="*/ 327 w 545"/>
                <a:gd name="T1" fmla="*/ 486 h 486"/>
                <a:gd name="T2" fmla="*/ 146 w 545"/>
                <a:gd name="T3" fmla="*/ 371 h 486"/>
                <a:gd name="T4" fmla="*/ 0 w 545"/>
                <a:gd name="T5" fmla="*/ 55 h 486"/>
                <a:gd name="T6" fmla="*/ 120 w 545"/>
                <a:gd name="T7" fmla="*/ 0 h 486"/>
                <a:gd name="T8" fmla="*/ 266 w 545"/>
                <a:gd name="T9" fmla="*/ 315 h 486"/>
                <a:gd name="T10" fmla="*/ 328 w 545"/>
                <a:gd name="T11" fmla="*/ 355 h 486"/>
                <a:gd name="T12" fmla="*/ 543 w 545"/>
                <a:gd name="T13" fmla="*/ 353 h 486"/>
                <a:gd name="T14" fmla="*/ 545 w 545"/>
                <a:gd name="T15" fmla="*/ 484 h 486"/>
                <a:gd name="T16" fmla="*/ 329 w 545"/>
                <a:gd name="T17" fmla="*/ 486 h 486"/>
                <a:gd name="T18" fmla="*/ 327 w 545"/>
                <a:gd name="T19" fmla="*/ 486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5" h="486">
                  <a:moveTo>
                    <a:pt x="327" y="486"/>
                  </a:moveTo>
                  <a:cubicBezTo>
                    <a:pt x="250" y="486"/>
                    <a:pt x="179" y="441"/>
                    <a:pt x="146" y="371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266" y="315"/>
                    <a:pt x="266" y="315"/>
                    <a:pt x="266" y="315"/>
                  </a:cubicBezTo>
                  <a:cubicBezTo>
                    <a:pt x="277" y="340"/>
                    <a:pt x="301" y="355"/>
                    <a:pt x="328" y="355"/>
                  </a:cubicBezTo>
                  <a:cubicBezTo>
                    <a:pt x="543" y="353"/>
                    <a:pt x="543" y="353"/>
                    <a:pt x="543" y="353"/>
                  </a:cubicBezTo>
                  <a:cubicBezTo>
                    <a:pt x="545" y="484"/>
                    <a:pt x="545" y="484"/>
                    <a:pt x="545" y="484"/>
                  </a:cubicBezTo>
                  <a:cubicBezTo>
                    <a:pt x="329" y="486"/>
                    <a:pt x="329" y="486"/>
                    <a:pt x="329" y="486"/>
                  </a:cubicBezTo>
                  <a:cubicBezTo>
                    <a:pt x="329" y="486"/>
                    <a:pt x="328" y="486"/>
                    <a:pt x="327" y="486"/>
                  </a:cubicBezTo>
                  <a:close/>
                </a:path>
              </a:pathLst>
            </a:custGeom>
            <a:solidFill>
              <a:srgbClr val="2525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1" name="íSļïḍ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352925" y="2414588"/>
              <a:ext cx="947738" cy="1838325"/>
            </a:xfrm>
            <a:custGeom>
              <a:avLst/>
              <a:gdLst>
                <a:gd name="T0" fmla="*/ 462 w 462"/>
                <a:gd name="T1" fmla="*/ 196 h 896"/>
                <a:gd name="T2" fmla="*/ 460 w 462"/>
                <a:gd name="T3" fmla="*/ 472 h 896"/>
                <a:gd name="T4" fmla="*/ 457 w 462"/>
                <a:gd name="T5" fmla="*/ 824 h 896"/>
                <a:gd name="T6" fmla="*/ 427 w 462"/>
                <a:gd name="T7" fmla="*/ 844 h 896"/>
                <a:gd name="T8" fmla="*/ 329 w 462"/>
                <a:gd name="T9" fmla="*/ 879 h 896"/>
                <a:gd name="T10" fmla="*/ 132 w 462"/>
                <a:gd name="T11" fmla="*/ 894 h 896"/>
                <a:gd name="T12" fmla="*/ 0 w 462"/>
                <a:gd name="T13" fmla="*/ 886 h 896"/>
                <a:gd name="T14" fmla="*/ 2 w 462"/>
                <a:gd name="T15" fmla="*/ 196 h 896"/>
                <a:gd name="T16" fmla="*/ 165 w 462"/>
                <a:gd name="T17" fmla="*/ 3 h 896"/>
                <a:gd name="T18" fmla="*/ 199 w 462"/>
                <a:gd name="T19" fmla="*/ 0 h 896"/>
                <a:gd name="T20" fmla="*/ 265 w 462"/>
                <a:gd name="T21" fmla="*/ 0 h 896"/>
                <a:gd name="T22" fmla="*/ 462 w 462"/>
                <a:gd name="T23" fmla="*/ 196 h 8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2" h="896">
                  <a:moveTo>
                    <a:pt x="462" y="196"/>
                  </a:moveTo>
                  <a:cubicBezTo>
                    <a:pt x="460" y="472"/>
                    <a:pt x="460" y="472"/>
                    <a:pt x="460" y="472"/>
                  </a:cubicBezTo>
                  <a:cubicBezTo>
                    <a:pt x="457" y="824"/>
                    <a:pt x="457" y="824"/>
                    <a:pt x="457" y="824"/>
                  </a:cubicBezTo>
                  <a:cubicBezTo>
                    <a:pt x="457" y="824"/>
                    <a:pt x="449" y="832"/>
                    <a:pt x="427" y="844"/>
                  </a:cubicBezTo>
                  <a:cubicBezTo>
                    <a:pt x="407" y="854"/>
                    <a:pt x="376" y="867"/>
                    <a:pt x="329" y="879"/>
                  </a:cubicBezTo>
                  <a:cubicBezTo>
                    <a:pt x="275" y="893"/>
                    <a:pt x="198" y="896"/>
                    <a:pt x="132" y="894"/>
                  </a:cubicBezTo>
                  <a:cubicBezTo>
                    <a:pt x="59" y="892"/>
                    <a:pt x="0" y="886"/>
                    <a:pt x="0" y="886"/>
                  </a:cubicBezTo>
                  <a:cubicBezTo>
                    <a:pt x="2" y="196"/>
                    <a:pt x="2" y="196"/>
                    <a:pt x="2" y="196"/>
                  </a:cubicBezTo>
                  <a:cubicBezTo>
                    <a:pt x="2" y="99"/>
                    <a:pt x="72" y="19"/>
                    <a:pt x="165" y="3"/>
                  </a:cubicBezTo>
                  <a:cubicBezTo>
                    <a:pt x="176" y="1"/>
                    <a:pt x="187" y="0"/>
                    <a:pt x="199" y="0"/>
                  </a:cubicBezTo>
                  <a:cubicBezTo>
                    <a:pt x="265" y="0"/>
                    <a:pt x="265" y="0"/>
                    <a:pt x="265" y="0"/>
                  </a:cubicBezTo>
                  <a:cubicBezTo>
                    <a:pt x="374" y="0"/>
                    <a:pt x="462" y="88"/>
                    <a:pt x="462" y="196"/>
                  </a:cubicBezTo>
                  <a:close/>
                </a:path>
              </a:pathLst>
            </a:custGeom>
            <a:solidFill>
              <a:srgbClr val="2525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2" name="îšḷïḍ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670425" y="4675188"/>
              <a:ext cx="138113" cy="781050"/>
            </a:xfrm>
            <a:prstGeom prst="rect">
              <a:avLst/>
            </a:prstGeom>
            <a:solidFill>
              <a:srgbClr val="B1AE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3" name="îSľiḓé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670425" y="4718050"/>
              <a:ext cx="138113" cy="173037"/>
            </a:xfrm>
            <a:custGeom>
              <a:avLst/>
              <a:gdLst>
                <a:gd name="T0" fmla="*/ 0 w 67"/>
                <a:gd name="T1" fmla="*/ 0 h 84"/>
                <a:gd name="T2" fmla="*/ 0 w 67"/>
                <a:gd name="T3" fmla="*/ 84 h 84"/>
                <a:gd name="T4" fmla="*/ 67 w 67"/>
                <a:gd name="T5" fmla="*/ 59 h 84"/>
                <a:gd name="T6" fmla="*/ 67 w 67"/>
                <a:gd name="T7" fmla="*/ 3 h 84"/>
                <a:gd name="T8" fmla="*/ 0 w 67"/>
                <a:gd name="T9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" h="84">
                  <a:moveTo>
                    <a:pt x="0" y="0"/>
                  </a:moveTo>
                  <a:cubicBezTo>
                    <a:pt x="0" y="84"/>
                    <a:pt x="0" y="84"/>
                    <a:pt x="0" y="84"/>
                  </a:cubicBezTo>
                  <a:cubicBezTo>
                    <a:pt x="67" y="59"/>
                    <a:pt x="67" y="59"/>
                    <a:pt x="67" y="59"/>
                  </a:cubicBezTo>
                  <a:cubicBezTo>
                    <a:pt x="67" y="3"/>
                    <a:pt x="67" y="3"/>
                    <a:pt x="67" y="3"/>
                  </a:cubicBezTo>
                  <a:cubicBezTo>
                    <a:pt x="50" y="2"/>
                    <a:pt x="18" y="1"/>
                    <a:pt x="0" y="0"/>
                  </a:cubicBezTo>
                  <a:close/>
                </a:path>
              </a:pathLst>
            </a:custGeom>
            <a:solidFill>
              <a:srgbClr val="716F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4" name="íŝľîḋ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267200" y="4589463"/>
              <a:ext cx="966788" cy="153987"/>
            </a:xfrm>
            <a:custGeom>
              <a:avLst/>
              <a:gdLst>
                <a:gd name="T0" fmla="*/ 435 w 472"/>
                <a:gd name="T1" fmla="*/ 75 h 75"/>
                <a:gd name="T2" fmla="*/ 37 w 472"/>
                <a:gd name="T3" fmla="*/ 75 h 75"/>
                <a:gd name="T4" fmla="*/ 0 w 472"/>
                <a:gd name="T5" fmla="*/ 37 h 75"/>
                <a:gd name="T6" fmla="*/ 37 w 472"/>
                <a:gd name="T7" fmla="*/ 0 h 75"/>
                <a:gd name="T8" fmla="*/ 435 w 472"/>
                <a:gd name="T9" fmla="*/ 0 h 75"/>
                <a:gd name="T10" fmla="*/ 472 w 472"/>
                <a:gd name="T11" fmla="*/ 37 h 75"/>
                <a:gd name="T12" fmla="*/ 435 w 472"/>
                <a:gd name="T13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2" h="75">
                  <a:moveTo>
                    <a:pt x="435" y="75"/>
                  </a:moveTo>
                  <a:cubicBezTo>
                    <a:pt x="37" y="75"/>
                    <a:pt x="37" y="75"/>
                    <a:pt x="37" y="75"/>
                  </a:cubicBezTo>
                  <a:cubicBezTo>
                    <a:pt x="17" y="75"/>
                    <a:pt x="0" y="58"/>
                    <a:pt x="0" y="37"/>
                  </a:cubicBezTo>
                  <a:cubicBezTo>
                    <a:pt x="0" y="17"/>
                    <a:pt x="17" y="0"/>
                    <a:pt x="37" y="0"/>
                  </a:cubicBezTo>
                  <a:cubicBezTo>
                    <a:pt x="435" y="0"/>
                    <a:pt x="435" y="0"/>
                    <a:pt x="435" y="0"/>
                  </a:cubicBezTo>
                  <a:cubicBezTo>
                    <a:pt x="455" y="0"/>
                    <a:pt x="472" y="17"/>
                    <a:pt x="472" y="37"/>
                  </a:cubicBezTo>
                  <a:cubicBezTo>
                    <a:pt x="472" y="58"/>
                    <a:pt x="455" y="75"/>
                    <a:pt x="435" y="75"/>
                  </a:cubicBezTo>
                  <a:close/>
                </a:path>
              </a:pathLst>
            </a:custGeom>
            <a:solidFill>
              <a:srgbClr val="2D2D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5" name="ïṧḻiḋè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156075" y="5454650"/>
              <a:ext cx="1160463" cy="254000"/>
            </a:xfrm>
            <a:custGeom>
              <a:avLst/>
              <a:gdLst>
                <a:gd name="T0" fmla="*/ 566 w 566"/>
                <a:gd name="T1" fmla="*/ 124 h 124"/>
                <a:gd name="T2" fmla="*/ 524 w 566"/>
                <a:gd name="T3" fmla="*/ 124 h 124"/>
                <a:gd name="T4" fmla="*/ 434 w 566"/>
                <a:gd name="T5" fmla="*/ 39 h 124"/>
                <a:gd name="T6" fmla="*/ 132 w 566"/>
                <a:gd name="T7" fmla="*/ 39 h 124"/>
                <a:gd name="T8" fmla="*/ 41 w 566"/>
                <a:gd name="T9" fmla="*/ 124 h 124"/>
                <a:gd name="T10" fmla="*/ 0 w 566"/>
                <a:gd name="T11" fmla="*/ 124 h 124"/>
                <a:gd name="T12" fmla="*/ 132 w 566"/>
                <a:gd name="T13" fmla="*/ 0 h 124"/>
                <a:gd name="T14" fmla="*/ 434 w 566"/>
                <a:gd name="T15" fmla="*/ 0 h 124"/>
                <a:gd name="T16" fmla="*/ 566 w 566"/>
                <a:gd name="T17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6" h="124">
                  <a:moveTo>
                    <a:pt x="566" y="124"/>
                  </a:moveTo>
                  <a:cubicBezTo>
                    <a:pt x="524" y="124"/>
                    <a:pt x="524" y="124"/>
                    <a:pt x="524" y="124"/>
                  </a:cubicBezTo>
                  <a:cubicBezTo>
                    <a:pt x="524" y="77"/>
                    <a:pt x="484" y="39"/>
                    <a:pt x="434" y="39"/>
                  </a:cubicBezTo>
                  <a:cubicBezTo>
                    <a:pt x="132" y="39"/>
                    <a:pt x="132" y="39"/>
                    <a:pt x="132" y="39"/>
                  </a:cubicBezTo>
                  <a:cubicBezTo>
                    <a:pt x="82" y="39"/>
                    <a:pt x="41" y="77"/>
                    <a:pt x="41" y="124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0" y="56"/>
                    <a:pt x="59" y="0"/>
                    <a:pt x="132" y="0"/>
                  </a:cubicBezTo>
                  <a:cubicBezTo>
                    <a:pt x="434" y="0"/>
                    <a:pt x="434" y="0"/>
                    <a:pt x="434" y="0"/>
                  </a:cubicBezTo>
                  <a:cubicBezTo>
                    <a:pt x="507" y="0"/>
                    <a:pt x="566" y="56"/>
                    <a:pt x="566" y="124"/>
                  </a:cubicBezTo>
                  <a:close/>
                </a:path>
              </a:pathLst>
            </a:custGeom>
            <a:solidFill>
              <a:srgbClr val="2D2D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6" name="ïŝḻîḋé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638675" y="5334000"/>
              <a:ext cx="198438" cy="122237"/>
            </a:xfrm>
            <a:prstGeom prst="rect">
              <a:avLst/>
            </a:prstGeom>
            <a:solidFill>
              <a:srgbClr val="2D2D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7" name="ïsļíd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125913" y="5721350"/>
              <a:ext cx="141288" cy="133350"/>
            </a:xfrm>
            <a:prstGeom prst="ellipse">
              <a:avLst/>
            </a:prstGeom>
            <a:solidFill>
              <a:srgbClr val="0813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8" name="iSḷïḑ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103688" y="5673725"/>
              <a:ext cx="193675" cy="106362"/>
            </a:xfrm>
            <a:custGeom>
              <a:avLst/>
              <a:gdLst>
                <a:gd name="T0" fmla="*/ 95 w 95"/>
                <a:gd name="T1" fmla="*/ 52 h 52"/>
                <a:gd name="T2" fmla="*/ 0 w 95"/>
                <a:gd name="T3" fmla="*/ 52 h 52"/>
                <a:gd name="T4" fmla="*/ 0 w 95"/>
                <a:gd name="T5" fmla="*/ 44 h 52"/>
                <a:gd name="T6" fmla="*/ 44 w 95"/>
                <a:gd name="T7" fmla="*/ 0 h 52"/>
                <a:gd name="T8" fmla="*/ 51 w 95"/>
                <a:gd name="T9" fmla="*/ 0 h 52"/>
                <a:gd name="T10" fmla="*/ 95 w 95"/>
                <a:gd name="T11" fmla="*/ 44 h 52"/>
                <a:gd name="T12" fmla="*/ 95 w 95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5" h="52">
                  <a:moveTo>
                    <a:pt x="95" y="52"/>
                  </a:moveTo>
                  <a:cubicBezTo>
                    <a:pt x="0" y="52"/>
                    <a:pt x="0" y="52"/>
                    <a:pt x="0" y="52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19"/>
                    <a:pt x="20" y="0"/>
                    <a:pt x="44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75" y="0"/>
                    <a:pt x="95" y="19"/>
                    <a:pt x="95" y="44"/>
                  </a:cubicBezTo>
                  <a:lnTo>
                    <a:pt x="95" y="52"/>
                  </a:lnTo>
                  <a:close/>
                </a:path>
              </a:pathLst>
            </a:custGeom>
            <a:solidFill>
              <a:srgbClr val="07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9" name="îŝḷïḓé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208588" y="5721350"/>
              <a:ext cx="141288" cy="133350"/>
            </a:xfrm>
            <a:prstGeom prst="ellipse">
              <a:avLst/>
            </a:prstGeom>
            <a:solidFill>
              <a:srgbClr val="0813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0" name="ïṧḷîdé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187950" y="5673725"/>
              <a:ext cx="192088" cy="106362"/>
            </a:xfrm>
            <a:custGeom>
              <a:avLst/>
              <a:gdLst>
                <a:gd name="T0" fmla="*/ 94 w 94"/>
                <a:gd name="T1" fmla="*/ 52 h 52"/>
                <a:gd name="T2" fmla="*/ 0 w 94"/>
                <a:gd name="T3" fmla="*/ 52 h 52"/>
                <a:gd name="T4" fmla="*/ 0 w 94"/>
                <a:gd name="T5" fmla="*/ 44 h 52"/>
                <a:gd name="T6" fmla="*/ 44 w 94"/>
                <a:gd name="T7" fmla="*/ 0 h 52"/>
                <a:gd name="T8" fmla="*/ 50 w 94"/>
                <a:gd name="T9" fmla="*/ 0 h 52"/>
                <a:gd name="T10" fmla="*/ 94 w 94"/>
                <a:gd name="T11" fmla="*/ 44 h 52"/>
                <a:gd name="T12" fmla="*/ 94 w 94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4" h="52">
                  <a:moveTo>
                    <a:pt x="94" y="52"/>
                  </a:moveTo>
                  <a:cubicBezTo>
                    <a:pt x="0" y="52"/>
                    <a:pt x="0" y="52"/>
                    <a:pt x="0" y="52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19"/>
                    <a:pt x="19" y="0"/>
                    <a:pt x="44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74" y="0"/>
                    <a:pt x="94" y="19"/>
                    <a:pt x="94" y="44"/>
                  </a:cubicBezTo>
                  <a:lnTo>
                    <a:pt x="94" y="52"/>
                  </a:lnTo>
                  <a:close/>
                </a:path>
              </a:pathLst>
            </a:custGeom>
            <a:solidFill>
              <a:srgbClr val="07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1" name="ïṩļídé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684713" y="5480050"/>
              <a:ext cx="112713" cy="241300"/>
            </a:xfrm>
            <a:prstGeom prst="rect">
              <a:avLst/>
            </a:prstGeom>
            <a:solidFill>
              <a:srgbClr val="2D2D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2" name="ïšḻïḋé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675188" y="5721350"/>
              <a:ext cx="141288" cy="133350"/>
            </a:xfrm>
            <a:prstGeom prst="ellipse">
              <a:avLst/>
            </a:prstGeom>
            <a:solidFill>
              <a:srgbClr val="0813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3" name="işļîḑe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652963" y="5673725"/>
              <a:ext cx="193675" cy="106362"/>
            </a:xfrm>
            <a:custGeom>
              <a:avLst/>
              <a:gdLst>
                <a:gd name="T0" fmla="*/ 95 w 95"/>
                <a:gd name="T1" fmla="*/ 52 h 52"/>
                <a:gd name="T2" fmla="*/ 0 w 95"/>
                <a:gd name="T3" fmla="*/ 52 h 52"/>
                <a:gd name="T4" fmla="*/ 0 w 95"/>
                <a:gd name="T5" fmla="*/ 44 h 52"/>
                <a:gd name="T6" fmla="*/ 44 w 95"/>
                <a:gd name="T7" fmla="*/ 0 h 52"/>
                <a:gd name="T8" fmla="*/ 51 w 95"/>
                <a:gd name="T9" fmla="*/ 0 h 52"/>
                <a:gd name="T10" fmla="*/ 95 w 95"/>
                <a:gd name="T11" fmla="*/ 44 h 52"/>
                <a:gd name="T12" fmla="*/ 95 w 95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5" h="52">
                  <a:moveTo>
                    <a:pt x="95" y="52"/>
                  </a:moveTo>
                  <a:cubicBezTo>
                    <a:pt x="0" y="52"/>
                    <a:pt x="0" y="52"/>
                    <a:pt x="0" y="52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19"/>
                    <a:pt x="20" y="0"/>
                    <a:pt x="44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75" y="0"/>
                    <a:pt x="95" y="19"/>
                    <a:pt x="95" y="44"/>
                  </a:cubicBezTo>
                  <a:lnTo>
                    <a:pt x="95" y="52"/>
                  </a:lnTo>
                  <a:close/>
                </a:path>
              </a:pathLst>
            </a:custGeom>
            <a:solidFill>
              <a:srgbClr val="07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4" name="išliḑè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3641725" y="3014663"/>
              <a:ext cx="1020763" cy="1655762"/>
            </a:xfrm>
            <a:custGeom>
              <a:avLst/>
              <a:gdLst>
                <a:gd name="T0" fmla="*/ 6 w 498"/>
                <a:gd name="T1" fmla="*/ 92 h 808"/>
                <a:gd name="T2" fmla="*/ 95 w 498"/>
                <a:gd name="T3" fmla="*/ 734 h 808"/>
                <a:gd name="T4" fmla="*/ 173 w 498"/>
                <a:gd name="T5" fmla="*/ 804 h 808"/>
                <a:gd name="T6" fmla="*/ 498 w 498"/>
                <a:gd name="T7" fmla="*/ 808 h 808"/>
                <a:gd name="T8" fmla="*/ 317 w 498"/>
                <a:gd name="T9" fmla="*/ 0 h 808"/>
                <a:gd name="T10" fmla="*/ 87 w 498"/>
                <a:gd name="T11" fmla="*/ 0 h 808"/>
                <a:gd name="T12" fmla="*/ 6 w 498"/>
                <a:gd name="T13" fmla="*/ 92 h 8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8" h="808">
                  <a:moveTo>
                    <a:pt x="6" y="92"/>
                  </a:moveTo>
                  <a:cubicBezTo>
                    <a:pt x="95" y="734"/>
                    <a:pt x="95" y="734"/>
                    <a:pt x="95" y="734"/>
                  </a:cubicBezTo>
                  <a:cubicBezTo>
                    <a:pt x="101" y="773"/>
                    <a:pt x="133" y="803"/>
                    <a:pt x="173" y="804"/>
                  </a:cubicBezTo>
                  <a:cubicBezTo>
                    <a:pt x="498" y="808"/>
                    <a:pt x="498" y="808"/>
                    <a:pt x="498" y="808"/>
                  </a:cubicBezTo>
                  <a:cubicBezTo>
                    <a:pt x="317" y="0"/>
                    <a:pt x="317" y="0"/>
                    <a:pt x="317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37" y="0"/>
                    <a:pt x="0" y="43"/>
                    <a:pt x="6" y="92"/>
                  </a:cubicBezTo>
                  <a:close/>
                </a:path>
              </a:pathLst>
            </a:custGeom>
            <a:solidFill>
              <a:srgbClr val="9F29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5" name="îšḻíďè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379913" y="4384675"/>
              <a:ext cx="1211263" cy="285750"/>
            </a:xfrm>
            <a:custGeom>
              <a:avLst/>
              <a:gdLst>
                <a:gd name="T0" fmla="*/ 521 w 591"/>
                <a:gd name="T1" fmla="*/ 140 h 140"/>
                <a:gd name="T2" fmla="*/ 70 w 591"/>
                <a:gd name="T3" fmla="*/ 140 h 140"/>
                <a:gd name="T4" fmla="*/ 0 w 591"/>
                <a:gd name="T5" fmla="*/ 70 h 140"/>
                <a:gd name="T6" fmla="*/ 70 w 591"/>
                <a:gd name="T7" fmla="*/ 0 h 140"/>
                <a:gd name="T8" fmla="*/ 521 w 591"/>
                <a:gd name="T9" fmla="*/ 0 h 140"/>
                <a:gd name="T10" fmla="*/ 591 w 591"/>
                <a:gd name="T11" fmla="*/ 70 h 140"/>
                <a:gd name="T12" fmla="*/ 521 w 591"/>
                <a:gd name="T13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1" h="140">
                  <a:moveTo>
                    <a:pt x="521" y="140"/>
                  </a:moveTo>
                  <a:cubicBezTo>
                    <a:pt x="70" y="140"/>
                    <a:pt x="70" y="140"/>
                    <a:pt x="70" y="140"/>
                  </a:cubicBezTo>
                  <a:cubicBezTo>
                    <a:pt x="31" y="140"/>
                    <a:pt x="0" y="108"/>
                    <a:pt x="0" y="70"/>
                  </a:cubicBezTo>
                  <a:cubicBezTo>
                    <a:pt x="0" y="31"/>
                    <a:pt x="31" y="0"/>
                    <a:pt x="70" y="0"/>
                  </a:cubicBezTo>
                  <a:cubicBezTo>
                    <a:pt x="521" y="0"/>
                    <a:pt x="521" y="0"/>
                    <a:pt x="521" y="0"/>
                  </a:cubicBezTo>
                  <a:cubicBezTo>
                    <a:pt x="560" y="0"/>
                    <a:pt x="591" y="31"/>
                    <a:pt x="591" y="70"/>
                  </a:cubicBezTo>
                  <a:cubicBezTo>
                    <a:pt x="591" y="108"/>
                    <a:pt x="560" y="140"/>
                    <a:pt x="521" y="140"/>
                  </a:cubicBezTo>
                  <a:close/>
                </a:path>
              </a:pathLst>
            </a:custGeom>
            <a:solidFill>
              <a:srgbClr val="F147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6" name="ïś1ïḍé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352925" y="2420938"/>
              <a:ext cx="338138" cy="1827212"/>
            </a:xfrm>
            <a:custGeom>
              <a:avLst/>
              <a:gdLst>
                <a:gd name="T0" fmla="*/ 108 w 165"/>
                <a:gd name="T1" fmla="*/ 173 h 891"/>
                <a:gd name="T2" fmla="*/ 132 w 165"/>
                <a:gd name="T3" fmla="*/ 891 h 891"/>
                <a:gd name="T4" fmla="*/ 0 w 165"/>
                <a:gd name="T5" fmla="*/ 883 h 891"/>
                <a:gd name="T6" fmla="*/ 2 w 165"/>
                <a:gd name="T7" fmla="*/ 193 h 891"/>
                <a:gd name="T8" fmla="*/ 165 w 165"/>
                <a:gd name="T9" fmla="*/ 0 h 891"/>
                <a:gd name="T10" fmla="*/ 108 w 165"/>
                <a:gd name="T11" fmla="*/ 173 h 8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5" h="891">
                  <a:moveTo>
                    <a:pt x="108" y="173"/>
                  </a:moveTo>
                  <a:cubicBezTo>
                    <a:pt x="100" y="299"/>
                    <a:pt x="124" y="756"/>
                    <a:pt x="132" y="891"/>
                  </a:cubicBezTo>
                  <a:cubicBezTo>
                    <a:pt x="59" y="889"/>
                    <a:pt x="0" y="883"/>
                    <a:pt x="0" y="883"/>
                  </a:cubicBezTo>
                  <a:cubicBezTo>
                    <a:pt x="2" y="193"/>
                    <a:pt x="2" y="193"/>
                    <a:pt x="2" y="193"/>
                  </a:cubicBezTo>
                  <a:cubicBezTo>
                    <a:pt x="2" y="96"/>
                    <a:pt x="72" y="16"/>
                    <a:pt x="165" y="0"/>
                  </a:cubicBezTo>
                  <a:cubicBezTo>
                    <a:pt x="165" y="0"/>
                    <a:pt x="119" y="24"/>
                    <a:pt x="108" y="173"/>
                  </a:cubicBezTo>
                  <a:close/>
                </a:path>
              </a:pathLst>
            </a:custGeom>
            <a:solidFill>
              <a:srgbClr val="1C1C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7" name="iṣḻidé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624388" y="2322513"/>
              <a:ext cx="415925" cy="117475"/>
            </a:xfrm>
            <a:custGeom>
              <a:avLst/>
              <a:gdLst>
                <a:gd name="T0" fmla="*/ 262 w 262"/>
                <a:gd name="T1" fmla="*/ 74 h 74"/>
                <a:gd name="T2" fmla="*/ 0 w 262"/>
                <a:gd name="T3" fmla="*/ 74 h 74"/>
                <a:gd name="T4" fmla="*/ 0 w 262"/>
                <a:gd name="T5" fmla="*/ 0 h 74"/>
                <a:gd name="T6" fmla="*/ 262 w 262"/>
                <a:gd name="T7" fmla="*/ 31 h 74"/>
                <a:gd name="T8" fmla="*/ 262 w 262"/>
                <a:gd name="T9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74">
                  <a:moveTo>
                    <a:pt x="262" y="74"/>
                  </a:moveTo>
                  <a:lnTo>
                    <a:pt x="0" y="74"/>
                  </a:lnTo>
                  <a:lnTo>
                    <a:pt x="0" y="0"/>
                  </a:lnTo>
                  <a:lnTo>
                    <a:pt x="262" y="31"/>
                  </a:lnTo>
                  <a:lnTo>
                    <a:pt x="262" y="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8" name="ïṧľiď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164013" y="3005138"/>
              <a:ext cx="442913" cy="1631950"/>
            </a:xfrm>
            <a:custGeom>
              <a:avLst/>
              <a:gdLst>
                <a:gd name="T0" fmla="*/ 99 w 216"/>
                <a:gd name="T1" fmla="*/ 723 h 795"/>
                <a:gd name="T2" fmla="*/ 5 w 216"/>
                <a:gd name="T3" fmla="*/ 65 h 795"/>
                <a:gd name="T4" fmla="*/ 54 w 216"/>
                <a:gd name="T5" fmla="*/ 4 h 795"/>
                <a:gd name="T6" fmla="*/ 118 w 216"/>
                <a:gd name="T7" fmla="*/ 50 h 795"/>
                <a:gd name="T8" fmla="*/ 212 w 216"/>
                <a:gd name="T9" fmla="*/ 709 h 795"/>
                <a:gd name="T10" fmla="*/ 163 w 216"/>
                <a:gd name="T11" fmla="*/ 770 h 795"/>
                <a:gd name="T12" fmla="*/ 99 w 216"/>
                <a:gd name="T13" fmla="*/ 723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6" h="795">
                  <a:moveTo>
                    <a:pt x="99" y="723"/>
                  </a:moveTo>
                  <a:cubicBezTo>
                    <a:pt x="5" y="65"/>
                    <a:pt x="5" y="65"/>
                    <a:pt x="5" y="65"/>
                  </a:cubicBezTo>
                  <a:cubicBezTo>
                    <a:pt x="0" y="35"/>
                    <a:pt x="22" y="8"/>
                    <a:pt x="54" y="4"/>
                  </a:cubicBezTo>
                  <a:cubicBezTo>
                    <a:pt x="85" y="0"/>
                    <a:pt x="114" y="21"/>
                    <a:pt x="118" y="50"/>
                  </a:cubicBezTo>
                  <a:cubicBezTo>
                    <a:pt x="212" y="709"/>
                    <a:pt x="212" y="709"/>
                    <a:pt x="212" y="709"/>
                  </a:cubicBezTo>
                  <a:cubicBezTo>
                    <a:pt x="216" y="738"/>
                    <a:pt x="194" y="766"/>
                    <a:pt x="163" y="770"/>
                  </a:cubicBezTo>
                  <a:cubicBezTo>
                    <a:pt x="132" y="773"/>
                    <a:pt x="116" y="795"/>
                    <a:pt x="99" y="723"/>
                  </a:cubicBezTo>
                  <a:close/>
                </a:path>
              </a:pathLst>
            </a:custGeom>
            <a:solidFill>
              <a:srgbClr val="F147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9" name="iślîḍe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132388" y="3060700"/>
              <a:ext cx="163513" cy="1085850"/>
            </a:xfrm>
            <a:custGeom>
              <a:avLst/>
              <a:gdLst>
                <a:gd name="T0" fmla="*/ 80 w 80"/>
                <a:gd name="T1" fmla="*/ 157 h 529"/>
                <a:gd name="T2" fmla="*/ 77 w 80"/>
                <a:gd name="T3" fmla="*/ 509 h 529"/>
                <a:gd name="T4" fmla="*/ 47 w 80"/>
                <a:gd name="T5" fmla="*/ 529 h 529"/>
                <a:gd name="T6" fmla="*/ 0 w 80"/>
                <a:gd name="T7" fmla="*/ 0 h 529"/>
                <a:gd name="T8" fmla="*/ 80 w 80"/>
                <a:gd name="T9" fmla="*/ 157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529">
                  <a:moveTo>
                    <a:pt x="80" y="157"/>
                  </a:moveTo>
                  <a:cubicBezTo>
                    <a:pt x="77" y="509"/>
                    <a:pt x="77" y="509"/>
                    <a:pt x="77" y="509"/>
                  </a:cubicBezTo>
                  <a:cubicBezTo>
                    <a:pt x="77" y="509"/>
                    <a:pt x="69" y="517"/>
                    <a:pt x="47" y="52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43" y="107"/>
                    <a:pt x="80" y="157"/>
                  </a:cubicBezTo>
                  <a:close/>
                </a:path>
              </a:pathLst>
            </a:custGeom>
            <a:solidFill>
              <a:srgbClr val="1C1C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0" name="îṧḻiďe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704013" y="2827338"/>
              <a:ext cx="401638" cy="320675"/>
            </a:xfrm>
            <a:prstGeom prst="rect">
              <a:avLst/>
            </a:prstGeom>
            <a:solidFill>
              <a:srgbClr val="5656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1" name="îṣḻíd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759575" y="2801938"/>
              <a:ext cx="285750" cy="285750"/>
            </a:xfrm>
            <a:custGeom>
              <a:avLst/>
              <a:gdLst>
                <a:gd name="T0" fmla="*/ 126 w 139"/>
                <a:gd name="T1" fmla="*/ 0 h 139"/>
                <a:gd name="T2" fmla="*/ 0 w 139"/>
                <a:gd name="T3" fmla="*/ 139 h 139"/>
                <a:gd name="T4" fmla="*/ 136 w 139"/>
                <a:gd name="T5" fmla="*/ 139 h 139"/>
                <a:gd name="T6" fmla="*/ 139 w 139"/>
                <a:gd name="T7" fmla="*/ 136 h 139"/>
                <a:gd name="T8" fmla="*/ 139 w 139"/>
                <a:gd name="T9" fmla="*/ 12 h 139"/>
                <a:gd name="T10" fmla="*/ 126 w 139"/>
                <a:gd name="T11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9" h="139">
                  <a:moveTo>
                    <a:pt x="126" y="0"/>
                  </a:moveTo>
                  <a:cubicBezTo>
                    <a:pt x="101" y="30"/>
                    <a:pt x="51" y="85"/>
                    <a:pt x="0" y="139"/>
                  </a:cubicBezTo>
                  <a:cubicBezTo>
                    <a:pt x="136" y="139"/>
                    <a:pt x="136" y="139"/>
                    <a:pt x="136" y="139"/>
                  </a:cubicBezTo>
                  <a:cubicBezTo>
                    <a:pt x="138" y="139"/>
                    <a:pt x="139" y="138"/>
                    <a:pt x="139" y="136"/>
                  </a:cubicBezTo>
                  <a:cubicBezTo>
                    <a:pt x="139" y="12"/>
                    <a:pt x="139" y="12"/>
                    <a:pt x="139" y="12"/>
                  </a:cubicBezTo>
                  <a:cubicBezTo>
                    <a:pt x="126" y="0"/>
                    <a:pt x="126" y="0"/>
                    <a:pt x="126" y="0"/>
                  </a:cubicBezTo>
                </a:path>
              </a:pathLst>
            </a:custGeom>
            <a:solidFill>
              <a:srgbClr val="1626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2" name="îsľïḍê"/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511925" y="3148013"/>
              <a:ext cx="546100" cy="198437"/>
            </a:xfrm>
            <a:custGeom>
              <a:avLst/>
              <a:gdLst>
                <a:gd name="T0" fmla="*/ 266 w 266"/>
                <a:gd name="T1" fmla="*/ 0 h 97"/>
                <a:gd name="T2" fmla="*/ 94 w 266"/>
                <a:gd name="T3" fmla="*/ 0 h 97"/>
                <a:gd name="T4" fmla="*/ 0 w 266"/>
                <a:gd name="T5" fmla="*/ 97 h 97"/>
                <a:gd name="T6" fmla="*/ 220 w 266"/>
                <a:gd name="T7" fmla="*/ 97 h 97"/>
                <a:gd name="T8" fmla="*/ 250 w 266"/>
                <a:gd name="T9" fmla="*/ 91 h 97"/>
                <a:gd name="T10" fmla="*/ 266 w 266"/>
                <a:gd name="T1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6" h="97">
                  <a:moveTo>
                    <a:pt x="266" y="0"/>
                  </a:moveTo>
                  <a:cubicBezTo>
                    <a:pt x="94" y="0"/>
                    <a:pt x="94" y="0"/>
                    <a:pt x="94" y="0"/>
                  </a:cubicBezTo>
                  <a:cubicBezTo>
                    <a:pt x="56" y="39"/>
                    <a:pt x="21" y="76"/>
                    <a:pt x="0" y="97"/>
                  </a:cubicBezTo>
                  <a:cubicBezTo>
                    <a:pt x="220" y="97"/>
                    <a:pt x="220" y="97"/>
                    <a:pt x="220" y="97"/>
                  </a:cubicBezTo>
                  <a:cubicBezTo>
                    <a:pt x="231" y="97"/>
                    <a:pt x="241" y="95"/>
                    <a:pt x="250" y="91"/>
                  </a:cubicBezTo>
                  <a:cubicBezTo>
                    <a:pt x="266" y="0"/>
                    <a:pt x="266" y="0"/>
                    <a:pt x="266" y="0"/>
                  </a:cubicBezTo>
                </a:path>
              </a:pathLst>
            </a:custGeom>
            <a:solidFill>
              <a:srgbClr val="7C7B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9880357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" dur="2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0000"/>
                                      </p:to>
                                    </p:animClr>
                                  </p:childTnLst>
                                </p:cTn>
                              </p:par>
                              <p:par>
                                <p:cTn id="7" presetID="3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8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3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2" dur="2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0000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c1f5d4e4-dd9f-455b-9729-0f7f87a6a1b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FF0000"/>
      </a:accent1>
      <a:accent2>
        <a:srgbClr val="0078D7"/>
      </a:accent2>
      <a:accent3>
        <a:srgbClr val="30D1F6"/>
      </a:accent3>
      <a:accent4>
        <a:srgbClr val="FFC83D"/>
      </a:accent4>
      <a:accent5>
        <a:srgbClr val="A5A5A5"/>
      </a:accent5>
      <a:accent6>
        <a:srgbClr val="C9C9C9"/>
      </a:accent6>
      <a:hlink>
        <a:srgbClr val="FF0000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FF0000"/>
    </a:accent1>
    <a:accent2>
      <a:srgbClr val="0078D7"/>
    </a:accent2>
    <a:accent3>
      <a:srgbClr val="30D1F6"/>
    </a:accent3>
    <a:accent4>
      <a:srgbClr val="FFC83D"/>
    </a:accent4>
    <a:accent5>
      <a:srgbClr val="A5A5A5"/>
    </a:accent5>
    <a:accent6>
      <a:srgbClr val="C9C9C9"/>
    </a:accent6>
    <a:hlink>
      <a:srgbClr val="FF0000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34</TotalTime>
  <Words>49</Words>
  <Application>Microsoft Office PowerPoint</Application>
  <PresentationFormat>宽屏</PresentationFormat>
  <Paragraphs>18</Paragraphs>
  <Slides>3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</vt:i4>
      </vt:variant>
    </vt:vector>
  </HeadingPairs>
  <TitlesOfParts>
    <vt:vector size="11" baseType="lpstr">
      <vt:lpstr>DengXian</vt:lpstr>
      <vt:lpstr>宋体</vt:lpstr>
      <vt:lpstr>微软雅黑</vt:lpstr>
      <vt:lpstr>Arial</vt:lpstr>
      <vt:lpstr>Calibri</vt:lpstr>
      <vt:lpstr>Wingdings</vt:lpstr>
      <vt:lpstr>主题5</vt:lpstr>
      <vt:lpstr>think-cell Slide</vt:lpstr>
      <vt:lpstr>if语句</vt:lpstr>
      <vt:lpstr>PowerPoint 演示文稿</vt:lpstr>
      <vt:lpstr>PowerPoint 演示文稿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zhangzg</cp:lastModifiedBy>
  <cp:revision>8</cp:revision>
  <cp:lastPrinted>2018-09-09T16:00:00Z</cp:lastPrinted>
  <dcterms:created xsi:type="dcterms:W3CDTF">2018-09-09T16:00:00Z</dcterms:created>
  <dcterms:modified xsi:type="dcterms:W3CDTF">2019-12-29T04:43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